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46" r:id="rId4"/>
  </p:sldMasterIdLst>
  <p:notesMasterIdLst>
    <p:notesMasterId r:id="rId15"/>
  </p:notesMasterIdLst>
  <p:sldIdLst>
    <p:sldId id="256" r:id="rId5"/>
    <p:sldId id="2147374360" r:id="rId6"/>
    <p:sldId id="2147374352" r:id="rId7"/>
    <p:sldId id="2147374354" r:id="rId8"/>
    <p:sldId id="2147374362" r:id="rId9"/>
    <p:sldId id="543" r:id="rId10"/>
    <p:sldId id="2147374353" r:id="rId11"/>
    <p:sldId id="2147374359" r:id="rId12"/>
    <p:sldId id="2147374357" r:id="rId13"/>
    <p:sldId id="2147374350" r:id="rId14"/>
  </p:sldIdLst>
  <p:sldSz cx="12192000" cy="6858000"/>
  <p:notesSz cx="6858000" cy="9144000"/>
  <p:custDataLst>
    <p:tags r:id="rId1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F02AF45-CE5B-FB0A-2EDC-CCBA40D2B674}" name="Jean-Patrice Netter" initials="JN" userId="S::jp.netter@diagma.com::dc821251-ce58-448b-a396-0fc9ecab0d8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8F8F8"/>
    <a:srgbClr val="FAC1A7"/>
    <a:srgbClr val="FBA919"/>
    <a:srgbClr val="CE181E"/>
    <a:srgbClr val="BAD12F"/>
    <a:srgbClr val="00A1CE"/>
    <a:srgbClr val="F9E500"/>
    <a:srgbClr val="F386A1"/>
    <a:srgbClr val="81C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D3191D-C464-452A-B864-581EED2B00CD}" v="33" dt="2023-06-21T13:53:47.6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 varScale="1">
        <p:scale>
          <a:sx n="66" d="100"/>
          <a:sy n="66" d="100"/>
        </p:scale>
        <p:origin x="0" y="0"/>
      </p:cViewPr>
      <p:guideLst/>
    </p:cSldViewPr>
  </p:slide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an-Patrice Netter" userId="dc821251-ce58-448b-a396-0fc9ecab0d87" providerId="ADAL" clId="{F911EB16-1191-48F2-9333-DACE26A41A70}"/>
    <pc:docChg chg="modSld">
      <pc:chgData name="Jean-Patrice Netter" userId="dc821251-ce58-448b-a396-0fc9ecab0d87" providerId="ADAL" clId="{F911EB16-1191-48F2-9333-DACE26A41A70}" dt="2023-06-20T13:45:03.400" v="103" actId="20577"/>
      <pc:docMkLst>
        <pc:docMk/>
      </pc:docMkLst>
      <pc:sldChg chg="addSp modSp mod modAnim">
        <pc:chgData name="Jean-Patrice Netter" userId="dc821251-ce58-448b-a396-0fc9ecab0d87" providerId="ADAL" clId="{F911EB16-1191-48F2-9333-DACE26A41A70}" dt="2023-06-20T13:43:29.521" v="97" actId="1076"/>
        <pc:sldMkLst>
          <pc:docMk/>
          <pc:sldMk cId="2640491001" sldId="2147374352"/>
        </pc:sldMkLst>
        <pc:spChg chg="mod">
          <ac:chgData name="Jean-Patrice Netter" userId="dc821251-ce58-448b-a396-0fc9ecab0d87" providerId="ADAL" clId="{F911EB16-1191-48F2-9333-DACE26A41A70}" dt="2023-06-20T13:43:29.521" v="97" actId="1076"/>
          <ac:spMkLst>
            <pc:docMk/>
            <pc:sldMk cId="2640491001" sldId="2147374352"/>
            <ac:spMk id="2" creationId="{A1ED494F-2945-069A-560A-90C5DEB84E0F}"/>
          </ac:spMkLst>
        </pc:spChg>
        <pc:spChg chg="add mod">
          <ac:chgData name="Jean-Patrice Netter" userId="dc821251-ce58-448b-a396-0fc9ecab0d87" providerId="ADAL" clId="{F911EB16-1191-48F2-9333-DACE26A41A70}" dt="2023-06-20T13:40:50.872" v="77" actId="20577"/>
          <ac:spMkLst>
            <pc:docMk/>
            <pc:sldMk cId="2640491001" sldId="2147374352"/>
            <ac:spMk id="3" creationId="{474E6DA6-3324-0AE5-DACD-4BAFAA469311}"/>
          </ac:spMkLst>
        </pc:spChg>
        <pc:spChg chg="mod">
          <ac:chgData name="Jean-Patrice Netter" userId="dc821251-ce58-448b-a396-0fc9ecab0d87" providerId="ADAL" clId="{F911EB16-1191-48F2-9333-DACE26A41A70}" dt="2023-06-20T13:41:18.832" v="80" actId="1076"/>
          <ac:spMkLst>
            <pc:docMk/>
            <pc:sldMk cId="2640491001" sldId="2147374352"/>
            <ac:spMk id="10" creationId="{9169E857-CD94-1CC1-CBEA-76FF30A189CD}"/>
          </ac:spMkLst>
        </pc:spChg>
      </pc:sldChg>
      <pc:sldChg chg="modSp">
        <pc:chgData name="Jean-Patrice Netter" userId="dc821251-ce58-448b-a396-0fc9ecab0d87" providerId="ADAL" clId="{F911EB16-1191-48F2-9333-DACE26A41A70}" dt="2023-06-20T13:45:03.400" v="103" actId="20577"/>
        <pc:sldMkLst>
          <pc:docMk/>
          <pc:sldMk cId="2476429531" sldId="2147374357"/>
        </pc:sldMkLst>
        <pc:spChg chg="mod">
          <ac:chgData name="Jean-Patrice Netter" userId="dc821251-ce58-448b-a396-0fc9ecab0d87" providerId="ADAL" clId="{F911EB16-1191-48F2-9333-DACE26A41A70}" dt="2023-06-20T13:45:03.400" v="103" actId="20577"/>
          <ac:spMkLst>
            <pc:docMk/>
            <pc:sldMk cId="2476429531" sldId="2147374357"/>
            <ac:spMk id="5" creationId="{E090E5B3-7210-1914-12BA-12545A55FF0D}"/>
          </ac:spMkLst>
        </pc:spChg>
      </pc:sldChg>
    </pc:docChg>
  </pc:docChgLst>
  <pc:docChgLst>
    <pc:chgData name="Cathy Polge" userId="bcb4cf59-9da8-4b0b-8915-a18ec9f5fd55" providerId="ADAL" clId="{57D3191D-C464-452A-B864-581EED2B00CD}"/>
    <pc:docChg chg="custSel modSld">
      <pc:chgData name="Cathy Polge" userId="bcb4cf59-9da8-4b0b-8915-a18ec9f5fd55" providerId="ADAL" clId="{57D3191D-C464-452A-B864-581EED2B00CD}" dt="2023-06-21T13:55:06.569" v="70" actId="1076"/>
      <pc:docMkLst>
        <pc:docMk/>
      </pc:docMkLst>
      <pc:sldChg chg="modSp mod">
        <pc:chgData name="Cathy Polge" userId="bcb4cf59-9da8-4b0b-8915-a18ec9f5fd55" providerId="ADAL" clId="{57D3191D-C464-452A-B864-581EED2B00CD}" dt="2023-06-20T09:51:00.536" v="51" actId="20577"/>
        <pc:sldMkLst>
          <pc:docMk/>
          <pc:sldMk cId="570861294" sldId="256"/>
        </pc:sldMkLst>
        <pc:spChg chg="mod">
          <ac:chgData name="Cathy Polge" userId="bcb4cf59-9da8-4b0b-8915-a18ec9f5fd55" providerId="ADAL" clId="{57D3191D-C464-452A-B864-581EED2B00CD}" dt="2023-06-20T09:51:00.536" v="51" actId="20577"/>
          <ac:spMkLst>
            <pc:docMk/>
            <pc:sldMk cId="570861294" sldId="256"/>
            <ac:spMk id="3" creationId="{500EE6D8-EDCE-3C40-73AD-B4F9ED44DEC3}"/>
          </ac:spMkLst>
        </pc:spChg>
      </pc:sldChg>
      <pc:sldChg chg="modSp mod">
        <pc:chgData name="Cathy Polge" userId="bcb4cf59-9da8-4b0b-8915-a18ec9f5fd55" providerId="ADAL" clId="{57D3191D-C464-452A-B864-581EED2B00CD}" dt="2023-06-20T11:55:09.590" v="69" actId="1076"/>
        <pc:sldMkLst>
          <pc:docMk/>
          <pc:sldMk cId="3340244101" sldId="543"/>
        </pc:sldMkLst>
        <pc:spChg chg="mod">
          <ac:chgData name="Cathy Polge" userId="bcb4cf59-9da8-4b0b-8915-a18ec9f5fd55" providerId="ADAL" clId="{57D3191D-C464-452A-B864-581EED2B00CD}" dt="2023-06-20T11:34:35.469" v="53" actId="313"/>
          <ac:spMkLst>
            <pc:docMk/>
            <pc:sldMk cId="3340244101" sldId="543"/>
            <ac:spMk id="4" creationId="{E266FC39-FC5C-A94E-DD07-D59468910F3C}"/>
          </ac:spMkLst>
        </pc:spChg>
        <pc:picChg chg="mod">
          <ac:chgData name="Cathy Polge" userId="bcb4cf59-9da8-4b0b-8915-a18ec9f5fd55" providerId="ADAL" clId="{57D3191D-C464-452A-B864-581EED2B00CD}" dt="2023-06-20T11:55:09.590" v="69" actId="1076"/>
          <ac:picMkLst>
            <pc:docMk/>
            <pc:sldMk cId="3340244101" sldId="543"/>
            <ac:picMk id="9" creationId="{A0CD977B-B035-7526-C070-C6D99C9A36E1}"/>
          </ac:picMkLst>
        </pc:picChg>
        <pc:picChg chg="mod">
          <ac:chgData name="Cathy Polge" userId="bcb4cf59-9da8-4b0b-8915-a18ec9f5fd55" providerId="ADAL" clId="{57D3191D-C464-452A-B864-581EED2B00CD}" dt="2023-06-20T11:55:09.590" v="69" actId="1076"/>
          <ac:picMkLst>
            <pc:docMk/>
            <pc:sldMk cId="3340244101" sldId="543"/>
            <ac:picMk id="11" creationId="{510BA7BC-F354-A8B6-C500-D6C4AAA085DA}"/>
          </ac:picMkLst>
        </pc:picChg>
        <pc:picChg chg="mod">
          <ac:chgData name="Cathy Polge" userId="bcb4cf59-9da8-4b0b-8915-a18ec9f5fd55" providerId="ADAL" clId="{57D3191D-C464-452A-B864-581EED2B00CD}" dt="2023-06-20T11:55:09.590" v="69" actId="1076"/>
          <ac:picMkLst>
            <pc:docMk/>
            <pc:sldMk cId="3340244101" sldId="543"/>
            <ac:picMk id="13" creationId="{B3F5B339-70A4-BC7A-02D8-168309DC114D}"/>
          </ac:picMkLst>
        </pc:picChg>
      </pc:sldChg>
      <pc:sldChg chg="modSp">
        <pc:chgData name="Cathy Polge" userId="bcb4cf59-9da8-4b0b-8915-a18ec9f5fd55" providerId="ADAL" clId="{57D3191D-C464-452A-B864-581EED2B00CD}" dt="2023-06-20T11:54:21.318" v="66" actId="20577"/>
        <pc:sldMkLst>
          <pc:docMk/>
          <pc:sldMk cId="4075345445" sldId="2147374353"/>
        </pc:sldMkLst>
        <pc:spChg chg="mod">
          <ac:chgData name="Cathy Polge" userId="bcb4cf59-9da8-4b0b-8915-a18ec9f5fd55" providerId="ADAL" clId="{57D3191D-C464-452A-B864-581EED2B00CD}" dt="2023-06-20T11:54:21.318" v="66" actId="20577"/>
          <ac:spMkLst>
            <pc:docMk/>
            <pc:sldMk cId="4075345445" sldId="2147374353"/>
            <ac:spMk id="3" creationId="{CBA8804E-C47F-8D79-D6C3-11230BB8A1BA}"/>
          </ac:spMkLst>
        </pc:spChg>
        <pc:picChg chg="mod">
          <ac:chgData name="Cathy Polge" userId="bcb4cf59-9da8-4b0b-8915-a18ec9f5fd55" providerId="ADAL" clId="{57D3191D-C464-452A-B864-581EED2B00CD}" dt="2023-06-20T11:35:00.824" v="56" actId="14100"/>
          <ac:picMkLst>
            <pc:docMk/>
            <pc:sldMk cId="4075345445" sldId="2147374353"/>
            <ac:picMk id="1026" creationId="{C2D28278-FD33-7C5A-16E3-FC201FD33143}"/>
          </ac:picMkLst>
        </pc:picChg>
      </pc:sldChg>
      <pc:sldChg chg="modSp mod">
        <pc:chgData name="Cathy Polge" userId="bcb4cf59-9da8-4b0b-8915-a18ec9f5fd55" providerId="ADAL" clId="{57D3191D-C464-452A-B864-581EED2B00CD}" dt="2023-06-21T13:55:06.569" v="70" actId="1076"/>
        <pc:sldMkLst>
          <pc:docMk/>
          <pc:sldMk cId="3669997265" sldId="2147374354"/>
        </pc:sldMkLst>
        <pc:picChg chg="mod">
          <ac:chgData name="Cathy Polge" userId="bcb4cf59-9da8-4b0b-8915-a18ec9f5fd55" providerId="ADAL" clId="{57D3191D-C464-452A-B864-581EED2B00CD}" dt="2023-06-21T13:55:06.569" v="70" actId="1076"/>
          <ac:picMkLst>
            <pc:docMk/>
            <pc:sldMk cId="3669997265" sldId="2147374354"/>
            <ac:picMk id="9286" creationId="{4AB018B7-52D5-9656-2639-E19AE1BC6999}"/>
          </ac:picMkLst>
        </pc:picChg>
      </pc:sldChg>
      <pc:sldChg chg="addSp delSp modSp mod">
        <pc:chgData name="Cathy Polge" userId="bcb4cf59-9da8-4b0b-8915-a18ec9f5fd55" providerId="ADAL" clId="{57D3191D-C464-452A-B864-581EED2B00CD}" dt="2023-06-20T11:54:10.541" v="63" actId="20577"/>
        <pc:sldMkLst>
          <pc:docMk/>
          <pc:sldMk cId="2839760753" sldId="2147374359"/>
        </pc:sldMkLst>
        <pc:spChg chg="mod">
          <ac:chgData name="Cathy Polge" userId="bcb4cf59-9da8-4b0b-8915-a18ec9f5fd55" providerId="ADAL" clId="{57D3191D-C464-452A-B864-581EED2B00CD}" dt="2023-06-20T11:53:47.066" v="59" actId="20577"/>
          <ac:spMkLst>
            <pc:docMk/>
            <pc:sldMk cId="2839760753" sldId="2147374359"/>
            <ac:spMk id="2" creationId="{F5C85D66-DC1D-D871-0933-4DCCC5D828D1}"/>
          </ac:spMkLst>
        </pc:spChg>
        <pc:spChg chg="mod">
          <ac:chgData name="Cathy Polge" userId="bcb4cf59-9da8-4b0b-8915-a18ec9f5fd55" providerId="ADAL" clId="{57D3191D-C464-452A-B864-581EED2B00CD}" dt="2023-06-20T11:54:10.541" v="63" actId="20577"/>
          <ac:spMkLst>
            <pc:docMk/>
            <pc:sldMk cId="2839760753" sldId="2147374359"/>
            <ac:spMk id="3" creationId="{02C5C8B4-1843-22B0-7079-FC3BBD54D65F}"/>
          </ac:spMkLst>
        </pc:spChg>
        <pc:picChg chg="del">
          <ac:chgData name="Cathy Polge" userId="bcb4cf59-9da8-4b0b-8915-a18ec9f5fd55" providerId="ADAL" clId="{57D3191D-C464-452A-B864-581EED2B00CD}" dt="2023-06-20T09:49:42.665" v="41" actId="478"/>
          <ac:picMkLst>
            <pc:docMk/>
            <pc:sldMk cId="2839760753" sldId="2147374359"/>
            <ac:picMk id="6" creationId="{D75CBB67-1285-6E5F-3B2E-2B2C190ED89C}"/>
          </ac:picMkLst>
        </pc:picChg>
        <pc:picChg chg="add mod">
          <ac:chgData name="Cathy Polge" userId="bcb4cf59-9da8-4b0b-8915-a18ec9f5fd55" providerId="ADAL" clId="{57D3191D-C464-452A-B864-581EED2B00CD}" dt="2023-06-20T09:50:22.233" v="49" actId="1076"/>
          <ac:picMkLst>
            <pc:docMk/>
            <pc:sldMk cId="2839760753" sldId="2147374359"/>
            <ac:picMk id="7" creationId="{2BADB357-3D21-EB30-7D38-85042285940D}"/>
          </ac:picMkLst>
        </pc:picChg>
        <pc:picChg chg="mod">
          <ac:chgData name="Cathy Polge" userId="bcb4cf59-9da8-4b0b-8915-a18ec9f5fd55" providerId="ADAL" clId="{57D3191D-C464-452A-B864-581EED2B00CD}" dt="2023-06-20T11:53:35.943" v="57" actId="12788"/>
          <ac:picMkLst>
            <pc:docMk/>
            <pc:sldMk cId="2839760753" sldId="2147374359"/>
            <ac:picMk id="2050" creationId="{AE3A0584-6A27-BA38-DD34-DE5D7C67E65D}"/>
          </ac:picMkLst>
        </pc:picChg>
      </pc:sldChg>
      <pc:sldChg chg="modSp mod">
        <pc:chgData name="Cathy Polge" userId="bcb4cf59-9da8-4b0b-8915-a18ec9f5fd55" providerId="ADAL" clId="{57D3191D-C464-452A-B864-581EED2B00CD}" dt="2023-06-20T09:49:33.347" v="40" actId="14100"/>
        <pc:sldMkLst>
          <pc:docMk/>
          <pc:sldMk cId="2860706332" sldId="2147374362"/>
        </pc:sldMkLst>
        <pc:spChg chg="mod">
          <ac:chgData name="Cathy Polge" userId="bcb4cf59-9da8-4b0b-8915-a18ec9f5fd55" providerId="ADAL" clId="{57D3191D-C464-452A-B864-581EED2B00CD}" dt="2023-06-20T09:49:33.347" v="40" actId="14100"/>
          <ac:spMkLst>
            <pc:docMk/>
            <pc:sldMk cId="2860706332" sldId="2147374362"/>
            <ac:spMk id="2" creationId="{4F890551-2CD8-1CB2-7BF4-6C6794250F00}"/>
          </ac:spMkLst>
        </pc:spChg>
        <pc:spChg chg="mod">
          <ac:chgData name="Cathy Polge" userId="bcb4cf59-9da8-4b0b-8915-a18ec9f5fd55" providerId="ADAL" clId="{57D3191D-C464-452A-B864-581EED2B00CD}" dt="2023-06-20T09:49:21.264" v="37" actId="1076"/>
          <ac:spMkLst>
            <pc:docMk/>
            <pc:sldMk cId="2860706332" sldId="2147374362"/>
            <ac:spMk id="7" creationId="{27D50F5C-4300-7D1F-7D23-85677DD05059}"/>
          </ac:spMkLst>
        </pc:spChg>
        <pc:picChg chg="mod">
          <ac:chgData name="Cathy Polge" userId="bcb4cf59-9da8-4b0b-8915-a18ec9f5fd55" providerId="ADAL" clId="{57D3191D-C464-452A-B864-581EED2B00CD}" dt="2023-06-20T09:49:25.560" v="39" actId="14100"/>
          <ac:picMkLst>
            <pc:docMk/>
            <pc:sldMk cId="2860706332" sldId="2147374362"/>
            <ac:picMk id="8" creationId="{67DE1267-B2DE-80FA-108C-FB3A961FA526}"/>
          </ac:picMkLst>
        </pc:picChg>
        <pc:picChg chg="mod">
          <ac:chgData name="Cathy Polge" userId="bcb4cf59-9da8-4b0b-8915-a18ec9f5fd55" providerId="ADAL" clId="{57D3191D-C464-452A-B864-581EED2B00CD}" dt="2023-06-20T09:49:13.589" v="35" actId="1076"/>
          <ac:picMkLst>
            <pc:docMk/>
            <pc:sldMk cId="2860706332" sldId="2147374362"/>
            <ac:picMk id="10246" creationId="{4651799B-CC87-7E55-25EB-DDEA5F433F96}"/>
          </ac:picMkLst>
        </pc:picChg>
      </pc:sldChg>
    </pc:docChg>
  </pc:docChgLst>
  <pc:docChgLst>
    <pc:chgData name="Jean-Patrice Netter" userId="dc821251-ce58-448b-a396-0fc9ecab0d87" providerId="ADAL" clId="{F9D81D82-4321-4DEF-AAE0-C1F88D8F2318}"/>
    <pc:docChg chg="custSel delSld modSld">
      <pc:chgData name="Jean-Patrice Netter" userId="dc821251-ce58-448b-a396-0fc9ecab0d87" providerId="ADAL" clId="{F9D81D82-4321-4DEF-AAE0-C1F88D8F2318}" dt="2023-06-20T13:05:17.384" v="280"/>
      <pc:docMkLst>
        <pc:docMk/>
      </pc:docMkLst>
      <pc:sldChg chg="addSp delSp modSp mod">
        <pc:chgData name="Jean-Patrice Netter" userId="dc821251-ce58-448b-a396-0fc9ecab0d87" providerId="ADAL" clId="{F9D81D82-4321-4DEF-AAE0-C1F88D8F2318}" dt="2023-06-20T12:39:44.791" v="279" actId="20577"/>
        <pc:sldMkLst>
          <pc:docMk/>
          <pc:sldMk cId="3340244101" sldId="543"/>
        </pc:sldMkLst>
        <pc:spChg chg="mod">
          <ac:chgData name="Jean-Patrice Netter" userId="dc821251-ce58-448b-a396-0fc9ecab0d87" providerId="ADAL" clId="{F9D81D82-4321-4DEF-AAE0-C1F88D8F2318}" dt="2023-06-20T11:56:42.452" v="190" actId="20577"/>
          <ac:spMkLst>
            <pc:docMk/>
            <pc:sldMk cId="3340244101" sldId="543"/>
            <ac:spMk id="2" creationId="{0AF0A779-E099-4213-9903-9B8098B64571}"/>
          </ac:spMkLst>
        </pc:spChg>
        <pc:spChg chg="mod">
          <ac:chgData name="Jean-Patrice Netter" userId="dc821251-ce58-448b-a396-0fc9ecab0d87" providerId="ADAL" clId="{F9D81D82-4321-4DEF-AAE0-C1F88D8F2318}" dt="2023-06-20T12:39:44.791" v="279" actId="20577"/>
          <ac:spMkLst>
            <pc:docMk/>
            <pc:sldMk cId="3340244101" sldId="543"/>
            <ac:spMk id="4" creationId="{E266FC39-FC5C-A94E-DD07-D59468910F3C}"/>
          </ac:spMkLst>
        </pc:spChg>
        <pc:picChg chg="add mod">
          <ac:chgData name="Jean-Patrice Netter" userId="dc821251-ce58-448b-a396-0fc9ecab0d87" providerId="ADAL" clId="{F9D81D82-4321-4DEF-AAE0-C1F88D8F2318}" dt="2023-06-20T11:57:54.639" v="197" actId="1076"/>
          <ac:picMkLst>
            <pc:docMk/>
            <pc:sldMk cId="3340244101" sldId="543"/>
            <ac:picMk id="6" creationId="{FFAAD849-5572-6D9A-8091-24F293D6647C}"/>
          </ac:picMkLst>
        </pc:picChg>
        <pc:picChg chg="add del mod">
          <ac:chgData name="Jean-Patrice Netter" userId="dc821251-ce58-448b-a396-0fc9ecab0d87" providerId="ADAL" clId="{F9D81D82-4321-4DEF-AAE0-C1F88D8F2318}" dt="2023-06-20T11:55:31.681" v="164" actId="478"/>
          <ac:picMkLst>
            <pc:docMk/>
            <pc:sldMk cId="3340244101" sldId="543"/>
            <ac:picMk id="8" creationId="{DDECD1B5-E6F3-FF5C-1AEA-F75448C08452}"/>
          </ac:picMkLst>
        </pc:picChg>
        <pc:picChg chg="mod">
          <ac:chgData name="Jean-Patrice Netter" userId="dc821251-ce58-448b-a396-0fc9ecab0d87" providerId="ADAL" clId="{F9D81D82-4321-4DEF-AAE0-C1F88D8F2318}" dt="2023-06-20T11:58:00.003" v="198" actId="1076"/>
          <ac:picMkLst>
            <pc:docMk/>
            <pc:sldMk cId="3340244101" sldId="543"/>
            <ac:picMk id="9" creationId="{A0CD977B-B035-7526-C070-C6D99C9A36E1}"/>
          </ac:picMkLst>
        </pc:picChg>
        <pc:picChg chg="add del mod">
          <ac:chgData name="Jean-Patrice Netter" userId="dc821251-ce58-448b-a396-0fc9ecab0d87" providerId="ADAL" clId="{F9D81D82-4321-4DEF-AAE0-C1F88D8F2318}" dt="2023-06-20T11:56:07.135" v="168" actId="478"/>
          <ac:picMkLst>
            <pc:docMk/>
            <pc:sldMk cId="3340244101" sldId="543"/>
            <ac:picMk id="11" creationId="{510BA7BC-F354-A8B6-C500-D6C4AAA085DA}"/>
          </ac:picMkLst>
        </pc:picChg>
        <pc:picChg chg="add mod">
          <ac:chgData name="Jean-Patrice Netter" userId="dc821251-ce58-448b-a396-0fc9ecab0d87" providerId="ADAL" clId="{F9D81D82-4321-4DEF-AAE0-C1F88D8F2318}" dt="2023-06-20T11:57:27.433" v="192" actId="1076"/>
          <ac:picMkLst>
            <pc:docMk/>
            <pc:sldMk cId="3340244101" sldId="543"/>
            <ac:picMk id="13" creationId="{B3F5B339-70A4-BC7A-02D8-168309DC114D}"/>
          </ac:picMkLst>
        </pc:picChg>
      </pc:sldChg>
      <pc:sldChg chg="modAnim">
        <pc:chgData name="Jean-Patrice Netter" userId="dc821251-ce58-448b-a396-0fc9ecab0d87" providerId="ADAL" clId="{F9D81D82-4321-4DEF-AAE0-C1F88D8F2318}" dt="2023-06-20T13:05:17.384" v="280"/>
        <pc:sldMkLst>
          <pc:docMk/>
          <pc:sldMk cId="2640491001" sldId="2147374352"/>
        </pc:sldMkLst>
      </pc:sldChg>
      <pc:sldChg chg="addSp modSp mod modAnim">
        <pc:chgData name="Jean-Patrice Netter" userId="dc821251-ce58-448b-a396-0fc9ecab0d87" providerId="ADAL" clId="{F9D81D82-4321-4DEF-AAE0-C1F88D8F2318}" dt="2023-06-20T12:10:06.644" v="209"/>
        <pc:sldMkLst>
          <pc:docMk/>
          <pc:sldMk cId="4075345445" sldId="2147374353"/>
        </pc:sldMkLst>
        <pc:spChg chg="mod">
          <ac:chgData name="Jean-Patrice Netter" userId="dc821251-ce58-448b-a396-0fc9ecab0d87" providerId="ADAL" clId="{F9D81D82-4321-4DEF-AAE0-C1F88D8F2318}" dt="2023-06-20T11:14:06.522" v="68" actId="20577"/>
          <ac:spMkLst>
            <pc:docMk/>
            <pc:sldMk cId="4075345445" sldId="2147374353"/>
            <ac:spMk id="2" creationId="{3EE333CE-C2FA-193C-392E-E10E3E4F50F3}"/>
          </ac:spMkLst>
        </pc:spChg>
        <pc:spChg chg="add mod">
          <ac:chgData name="Jean-Patrice Netter" userId="dc821251-ce58-448b-a396-0fc9ecab0d87" providerId="ADAL" clId="{F9D81D82-4321-4DEF-AAE0-C1F88D8F2318}" dt="2023-06-20T11:23:48.664" v="97" actId="1076"/>
          <ac:spMkLst>
            <pc:docMk/>
            <pc:sldMk cId="4075345445" sldId="2147374353"/>
            <ac:spMk id="3" creationId="{CBA8804E-C47F-8D79-D6C3-11230BB8A1BA}"/>
          </ac:spMkLst>
        </pc:spChg>
        <pc:spChg chg="mod">
          <ac:chgData name="Jean-Patrice Netter" userId="dc821251-ce58-448b-a396-0fc9ecab0d87" providerId="ADAL" clId="{F9D81D82-4321-4DEF-AAE0-C1F88D8F2318}" dt="2023-06-20T11:20:18.971" v="86" actId="1076"/>
          <ac:spMkLst>
            <pc:docMk/>
            <pc:sldMk cId="4075345445" sldId="2147374353"/>
            <ac:spMk id="12" creationId="{2B34C7E0-C03C-AD81-E35F-5FC3C32FCE3B}"/>
          </ac:spMkLst>
        </pc:spChg>
        <pc:picChg chg="add mod">
          <ac:chgData name="Jean-Patrice Netter" userId="dc821251-ce58-448b-a396-0fc9ecab0d87" providerId="ADAL" clId="{F9D81D82-4321-4DEF-AAE0-C1F88D8F2318}" dt="2023-06-20T11:22:44.787" v="92" actId="1076"/>
          <ac:picMkLst>
            <pc:docMk/>
            <pc:sldMk cId="4075345445" sldId="2147374353"/>
            <ac:picMk id="1026" creationId="{C2D28278-FD33-7C5A-16E3-FC201FD33143}"/>
          </ac:picMkLst>
        </pc:picChg>
        <pc:picChg chg="mod">
          <ac:chgData name="Jean-Patrice Netter" userId="dc821251-ce58-448b-a396-0fc9ecab0d87" providerId="ADAL" clId="{F9D81D82-4321-4DEF-AAE0-C1F88D8F2318}" dt="2023-06-20T11:10:09.631" v="22" actId="1076"/>
          <ac:picMkLst>
            <pc:docMk/>
            <pc:sldMk cId="4075345445" sldId="2147374353"/>
            <ac:picMk id="6148" creationId="{B950D947-CC4D-FBC3-D88F-9128E54AD20B}"/>
          </ac:picMkLst>
        </pc:picChg>
      </pc:sldChg>
      <pc:sldChg chg="modSp">
        <pc:chgData name="Jean-Patrice Netter" userId="dc821251-ce58-448b-a396-0fc9ecab0d87" providerId="ADAL" clId="{F9D81D82-4321-4DEF-AAE0-C1F88D8F2318}" dt="2023-06-20T11:58:57.765" v="208" actId="20577"/>
        <pc:sldMkLst>
          <pc:docMk/>
          <pc:sldMk cId="2476429531" sldId="2147374357"/>
        </pc:sldMkLst>
        <pc:spChg chg="mod">
          <ac:chgData name="Jean-Patrice Netter" userId="dc821251-ce58-448b-a396-0fc9ecab0d87" providerId="ADAL" clId="{F9D81D82-4321-4DEF-AAE0-C1F88D8F2318}" dt="2023-06-20T11:58:57.765" v="208" actId="20577"/>
          <ac:spMkLst>
            <pc:docMk/>
            <pc:sldMk cId="2476429531" sldId="2147374357"/>
            <ac:spMk id="5" creationId="{E090E5B3-7210-1914-12BA-12545A55FF0D}"/>
          </ac:spMkLst>
        </pc:spChg>
      </pc:sldChg>
      <pc:sldChg chg="addSp delSp modSp mod">
        <pc:chgData name="Jean-Patrice Netter" userId="dc821251-ce58-448b-a396-0fc9ecab0d87" providerId="ADAL" clId="{F9D81D82-4321-4DEF-AAE0-C1F88D8F2318}" dt="2023-06-20T11:29:51.387" v="107" actId="1076"/>
        <pc:sldMkLst>
          <pc:docMk/>
          <pc:sldMk cId="2839760753" sldId="2147374359"/>
        </pc:sldMkLst>
        <pc:picChg chg="del">
          <ac:chgData name="Jean-Patrice Netter" userId="dc821251-ce58-448b-a396-0fc9ecab0d87" providerId="ADAL" clId="{F9D81D82-4321-4DEF-AAE0-C1F88D8F2318}" dt="2023-06-20T11:29:38.458" v="103" actId="478"/>
          <ac:picMkLst>
            <pc:docMk/>
            <pc:sldMk cId="2839760753" sldId="2147374359"/>
            <ac:picMk id="7" creationId="{2BADB357-3D21-EB30-7D38-85042285940D}"/>
          </ac:picMkLst>
        </pc:picChg>
        <pc:picChg chg="add mod">
          <ac:chgData name="Jean-Patrice Netter" userId="dc821251-ce58-448b-a396-0fc9ecab0d87" providerId="ADAL" clId="{F9D81D82-4321-4DEF-AAE0-C1F88D8F2318}" dt="2023-06-20T11:29:51.387" v="107" actId="1076"/>
          <ac:picMkLst>
            <pc:docMk/>
            <pc:sldMk cId="2839760753" sldId="2147374359"/>
            <ac:picMk id="2050" creationId="{AE3A0584-6A27-BA38-DD34-DE5D7C67E65D}"/>
          </ac:picMkLst>
        </pc:picChg>
      </pc:sldChg>
      <pc:sldChg chg="del">
        <pc:chgData name="Jean-Patrice Netter" userId="dc821251-ce58-448b-a396-0fc9ecab0d87" providerId="ADAL" clId="{F9D81D82-4321-4DEF-AAE0-C1F88D8F2318}" dt="2023-06-20T11:54:22.198" v="158" actId="2696"/>
        <pc:sldMkLst>
          <pc:docMk/>
          <pc:sldMk cId="7444751" sldId="214737436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4F85DF-34AE-45D5-925A-17B07664DEA4}" type="datetimeFigureOut">
              <a:rPr lang="fr-FR" smtClean="0"/>
              <a:t>21/06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D8E850-8F57-4A1B-B47F-7160C9C4635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93259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D8E850-8F57-4A1B-B47F-7160C9C46357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82925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jpe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hyperlink" Target="mailto:contact@diagma.com" TargetMode="External"/><Relationship Id="rId2" Type="http://schemas.openxmlformats.org/officeDocument/2006/relationships/hyperlink" Target="http://www.diagma.com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E4963EC6-1268-F9BD-2C91-880E22834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756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3" imgH="423" progId="TCLayout.ActiveDocument.1">
                  <p:embed/>
                </p:oleObj>
              </mc:Choice>
              <mc:Fallback>
                <p:oleObj name="think-cell Slide" r:id="rId3" imgW="423" imgH="423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E4963EC6-1268-F9BD-2C91-880E22834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7" name="Image 226">
            <a:extLst>
              <a:ext uri="{FF2B5EF4-FFF2-40B4-BE49-F238E27FC236}">
                <a16:creationId xmlns:a16="http://schemas.microsoft.com/office/drawing/2014/main" id="{F64FDE81-E0A4-4BAC-9AD0-5494BD130C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1160" y="0"/>
            <a:ext cx="8849032" cy="6858000"/>
          </a:xfrm>
          <a:prstGeom prst="rect">
            <a:avLst/>
          </a:prstGeom>
        </p:spPr>
      </p:pic>
      <p:grpSp>
        <p:nvGrpSpPr>
          <p:cNvPr id="36" name="Groupe 35">
            <a:extLst>
              <a:ext uri="{FF2B5EF4-FFF2-40B4-BE49-F238E27FC236}">
                <a16:creationId xmlns:a16="http://schemas.microsoft.com/office/drawing/2014/main" id="{EFAF2ECE-C073-499B-B4AD-AF72EBAC9FCB}"/>
              </a:ext>
            </a:extLst>
          </p:cNvPr>
          <p:cNvGrpSpPr/>
          <p:nvPr userDrawn="1"/>
        </p:nvGrpSpPr>
        <p:grpSpPr>
          <a:xfrm>
            <a:off x="10190593" y="162000"/>
            <a:ext cx="1839407" cy="1445415"/>
            <a:chOff x="10186247" y="160944"/>
            <a:chExt cx="1839407" cy="1445415"/>
          </a:xfrm>
        </p:grpSpPr>
        <p:grpSp>
          <p:nvGrpSpPr>
            <p:cNvPr id="33" name="Groupe 32">
              <a:extLst>
                <a:ext uri="{FF2B5EF4-FFF2-40B4-BE49-F238E27FC236}">
                  <a16:creationId xmlns:a16="http://schemas.microsoft.com/office/drawing/2014/main" id="{0B7611D8-1BA8-404A-B806-C95C324F585E}"/>
                </a:ext>
              </a:extLst>
            </p:cNvPr>
            <p:cNvGrpSpPr/>
            <p:nvPr userDrawn="1"/>
          </p:nvGrpSpPr>
          <p:grpSpPr>
            <a:xfrm>
              <a:off x="10186247" y="594769"/>
              <a:ext cx="1839407" cy="1011590"/>
              <a:chOff x="10186247" y="594769"/>
              <a:chExt cx="1839407" cy="1011590"/>
            </a:xfrm>
            <a:solidFill>
              <a:srgbClr val="C7D1DB"/>
            </a:solidFill>
          </p:grpSpPr>
          <p:sp>
            <p:nvSpPr>
              <p:cNvPr id="4" name="Freeform 5">
                <a:extLst>
                  <a:ext uri="{FF2B5EF4-FFF2-40B4-BE49-F238E27FC236}">
                    <a16:creationId xmlns:a16="http://schemas.microsoft.com/office/drawing/2014/main" id="{DA65F843-44FB-46A3-8877-BA152D9418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86247" y="594769"/>
                <a:ext cx="271476" cy="288213"/>
              </a:xfrm>
              <a:custGeom>
                <a:avLst/>
                <a:gdLst>
                  <a:gd name="T0" fmla="*/ 420 w 838"/>
                  <a:gd name="T1" fmla="*/ 744 h 893"/>
                  <a:gd name="T2" fmla="*/ 248 w 838"/>
                  <a:gd name="T3" fmla="*/ 668 h 893"/>
                  <a:gd name="T4" fmla="*/ 180 w 838"/>
                  <a:gd name="T5" fmla="*/ 446 h 893"/>
                  <a:gd name="T6" fmla="*/ 246 w 838"/>
                  <a:gd name="T7" fmla="*/ 223 h 893"/>
                  <a:gd name="T8" fmla="*/ 420 w 838"/>
                  <a:gd name="T9" fmla="*/ 149 h 893"/>
                  <a:gd name="T10" fmla="*/ 593 w 838"/>
                  <a:gd name="T11" fmla="*/ 222 h 893"/>
                  <a:gd name="T12" fmla="*/ 658 w 838"/>
                  <a:gd name="T13" fmla="*/ 443 h 893"/>
                  <a:gd name="T14" fmla="*/ 591 w 838"/>
                  <a:gd name="T15" fmla="*/ 669 h 893"/>
                  <a:gd name="T16" fmla="*/ 420 w 838"/>
                  <a:gd name="T17" fmla="*/ 744 h 893"/>
                  <a:gd name="T18" fmla="*/ 418 w 838"/>
                  <a:gd name="T19" fmla="*/ 0 h 893"/>
                  <a:gd name="T20" fmla="*/ 232 w 838"/>
                  <a:gd name="T21" fmla="*/ 34 h 893"/>
                  <a:gd name="T22" fmla="*/ 120 w 838"/>
                  <a:gd name="T23" fmla="*/ 112 h 893"/>
                  <a:gd name="T24" fmla="*/ 40 w 838"/>
                  <a:gd name="T25" fmla="*/ 230 h 893"/>
                  <a:gd name="T26" fmla="*/ 0 w 838"/>
                  <a:gd name="T27" fmla="*/ 452 h 893"/>
                  <a:gd name="T28" fmla="*/ 114 w 838"/>
                  <a:gd name="T29" fmla="*/ 775 h 893"/>
                  <a:gd name="T30" fmla="*/ 420 w 838"/>
                  <a:gd name="T31" fmla="*/ 893 h 893"/>
                  <a:gd name="T32" fmla="*/ 724 w 838"/>
                  <a:gd name="T33" fmla="*/ 775 h 893"/>
                  <a:gd name="T34" fmla="*/ 838 w 838"/>
                  <a:gd name="T35" fmla="*/ 448 h 893"/>
                  <a:gd name="T36" fmla="*/ 723 w 838"/>
                  <a:gd name="T37" fmla="*/ 118 h 893"/>
                  <a:gd name="T38" fmla="*/ 418 w 838"/>
                  <a:gd name="T39" fmla="*/ 0 h 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38" h="893">
                    <a:moveTo>
                      <a:pt x="420" y="744"/>
                    </a:moveTo>
                    <a:cubicBezTo>
                      <a:pt x="350" y="744"/>
                      <a:pt x="293" y="719"/>
                      <a:pt x="248" y="668"/>
                    </a:cubicBezTo>
                    <a:cubicBezTo>
                      <a:pt x="203" y="618"/>
                      <a:pt x="180" y="544"/>
                      <a:pt x="180" y="446"/>
                    </a:cubicBezTo>
                    <a:cubicBezTo>
                      <a:pt x="180" y="346"/>
                      <a:pt x="202" y="272"/>
                      <a:pt x="246" y="223"/>
                    </a:cubicBezTo>
                    <a:cubicBezTo>
                      <a:pt x="290" y="174"/>
                      <a:pt x="348" y="149"/>
                      <a:pt x="420" y="149"/>
                    </a:cubicBezTo>
                    <a:cubicBezTo>
                      <a:pt x="492" y="149"/>
                      <a:pt x="549" y="173"/>
                      <a:pt x="593" y="222"/>
                    </a:cubicBezTo>
                    <a:cubicBezTo>
                      <a:pt x="636" y="271"/>
                      <a:pt x="658" y="344"/>
                      <a:pt x="658" y="443"/>
                    </a:cubicBezTo>
                    <a:cubicBezTo>
                      <a:pt x="658" y="544"/>
                      <a:pt x="635" y="619"/>
                      <a:pt x="591" y="669"/>
                    </a:cubicBezTo>
                    <a:cubicBezTo>
                      <a:pt x="546" y="719"/>
                      <a:pt x="489" y="744"/>
                      <a:pt x="420" y="744"/>
                    </a:cubicBezTo>
                    <a:moveTo>
                      <a:pt x="418" y="0"/>
                    </a:moveTo>
                    <a:cubicBezTo>
                      <a:pt x="348" y="0"/>
                      <a:pt x="286" y="11"/>
                      <a:pt x="232" y="34"/>
                    </a:cubicBezTo>
                    <a:cubicBezTo>
                      <a:pt x="191" y="51"/>
                      <a:pt x="154" y="77"/>
                      <a:pt x="120" y="112"/>
                    </a:cubicBezTo>
                    <a:cubicBezTo>
                      <a:pt x="86" y="147"/>
                      <a:pt x="60" y="186"/>
                      <a:pt x="40" y="230"/>
                    </a:cubicBezTo>
                    <a:cubicBezTo>
                      <a:pt x="14" y="290"/>
                      <a:pt x="0" y="364"/>
                      <a:pt x="0" y="452"/>
                    </a:cubicBezTo>
                    <a:cubicBezTo>
                      <a:pt x="0" y="589"/>
                      <a:pt x="38" y="697"/>
                      <a:pt x="114" y="775"/>
                    </a:cubicBezTo>
                    <a:cubicBezTo>
                      <a:pt x="190" y="854"/>
                      <a:pt x="292" y="893"/>
                      <a:pt x="420" y="893"/>
                    </a:cubicBezTo>
                    <a:cubicBezTo>
                      <a:pt x="547" y="893"/>
                      <a:pt x="649" y="853"/>
                      <a:pt x="724" y="775"/>
                    </a:cubicBezTo>
                    <a:cubicBezTo>
                      <a:pt x="800" y="696"/>
                      <a:pt x="838" y="587"/>
                      <a:pt x="838" y="448"/>
                    </a:cubicBezTo>
                    <a:cubicBezTo>
                      <a:pt x="838" y="307"/>
                      <a:pt x="800" y="197"/>
                      <a:pt x="723" y="118"/>
                    </a:cubicBezTo>
                    <a:cubicBezTo>
                      <a:pt x="647" y="39"/>
                      <a:pt x="545" y="0"/>
                      <a:pt x="41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" name="Freeform 6">
                <a:extLst>
                  <a:ext uri="{FF2B5EF4-FFF2-40B4-BE49-F238E27FC236}">
                    <a16:creationId xmlns:a16="http://schemas.microsoft.com/office/drawing/2014/main" id="{514EE9B3-66A0-46EE-ABEC-B8043E5CEC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96553" y="599790"/>
                <a:ext cx="214570" cy="278505"/>
              </a:xfrm>
              <a:custGeom>
                <a:avLst/>
                <a:gdLst>
                  <a:gd name="T0" fmla="*/ 175 w 662"/>
                  <a:gd name="T1" fmla="*/ 391 h 863"/>
                  <a:gd name="T2" fmla="*/ 175 w 662"/>
                  <a:gd name="T3" fmla="*/ 146 h 863"/>
                  <a:gd name="T4" fmla="*/ 259 w 662"/>
                  <a:gd name="T5" fmla="*/ 146 h 863"/>
                  <a:gd name="T6" fmla="*/ 384 w 662"/>
                  <a:gd name="T7" fmla="*/ 152 h 863"/>
                  <a:gd name="T8" fmla="*/ 454 w 662"/>
                  <a:gd name="T9" fmla="*/ 190 h 863"/>
                  <a:gd name="T10" fmla="*/ 482 w 662"/>
                  <a:gd name="T11" fmla="*/ 268 h 863"/>
                  <a:gd name="T12" fmla="*/ 462 w 662"/>
                  <a:gd name="T13" fmla="*/ 335 h 863"/>
                  <a:gd name="T14" fmla="*/ 408 w 662"/>
                  <a:gd name="T15" fmla="*/ 377 h 863"/>
                  <a:gd name="T16" fmla="*/ 270 w 662"/>
                  <a:gd name="T17" fmla="*/ 391 h 863"/>
                  <a:gd name="T18" fmla="*/ 175 w 662"/>
                  <a:gd name="T19" fmla="*/ 391 h 863"/>
                  <a:gd name="T20" fmla="*/ 280 w 662"/>
                  <a:gd name="T21" fmla="*/ 0 h 863"/>
                  <a:gd name="T22" fmla="*/ 0 w 662"/>
                  <a:gd name="T23" fmla="*/ 0 h 863"/>
                  <a:gd name="T24" fmla="*/ 0 w 662"/>
                  <a:gd name="T25" fmla="*/ 863 h 863"/>
                  <a:gd name="T26" fmla="*/ 175 w 662"/>
                  <a:gd name="T27" fmla="*/ 863 h 863"/>
                  <a:gd name="T28" fmla="*/ 175 w 662"/>
                  <a:gd name="T29" fmla="*/ 537 h 863"/>
                  <a:gd name="T30" fmla="*/ 288 w 662"/>
                  <a:gd name="T31" fmla="*/ 537 h 863"/>
                  <a:gd name="T32" fmla="*/ 469 w 662"/>
                  <a:gd name="T33" fmla="*/ 525 h 863"/>
                  <a:gd name="T34" fmla="*/ 559 w 662"/>
                  <a:gd name="T35" fmla="*/ 484 h 863"/>
                  <a:gd name="T36" fmla="*/ 633 w 662"/>
                  <a:gd name="T37" fmla="*/ 399 h 863"/>
                  <a:gd name="T38" fmla="*/ 662 w 662"/>
                  <a:gd name="T39" fmla="*/ 265 h 863"/>
                  <a:gd name="T40" fmla="*/ 612 w 662"/>
                  <a:gd name="T41" fmla="*/ 97 h 863"/>
                  <a:gd name="T42" fmla="*/ 487 w 662"/>
                  <a:gd name="T43" fmla="*/ 13 h 863"/>
                  <a:gd name="T44" fmla="*/ 280 w 662"/>
                  <a:gd name="T45" fmla="*/ 0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2" h="863">
                    <a:moveTo>
                      <a:pt x="175" y="391"/>
                    </a:moveTo>
                    <a:cubicBezTo>
                      <a:pt x="175" y="146"/>
                      <a:pt x="175" y="146"/>
                      <a:pt x="175" y="146"/>
                    </a:cubicBezTo>
                    <a:cubicBezTo>
                      <a:pt x="259" y="146"/>
                      <a:pt x="259" y="146"/>
                      <a:pt x="259" y="146"/>
                    </a:cubicBezTo>
                    <a:cubicBezTo>
                      <a:pt x="322" y="146"/>
                      <a:pt x="363" y="148"/>
                      <a:pt x="384" y="152"/>
                    </a:cubicBezTo>
                    <a:cubicBezTo>
                      <a:pt x="412" y="157"/>
                      <a:pt x="436" y="169"/>
                      <a:pt x="454" y="190"/>
                    </a:cubicBezTo>
                    <a:cubicBezTo>
                      <a:pt x="473" y="210"/>
                      <a:pt x="482" y="236"/>
                      <a:pt x="482" y="268"/>
                    </a:cubicBezTo>
                    <a:cubicBezTo>
                      <a:pt x="482" y="293"/>
                      <a:pt x="475" y="316"/>
                      <a:pt x="462" y="335"/>
                    </a:cubicBezTo>
                    <a:cubicBezTo>
                      <a:pt x="449" y="354"/>
                      <a:pt x="431" y="368"/>
                      <a:pt x="408" y="377"/>
                    </a:cubicBezTo>
                    <a:cubicBezTo>
                      <a:pt x="385" y="386"/>
                      <a:pt x="339" y="391"/>
                      <a:pt x="270" y="391"/>
                    </a:cubicBezTo>
                    <a:cubicBezTo>
                      <a:pt x="175" y="391"/>
                      <a:pt x="175" y="391"/>
                      <a:pt x="175" y="391"/>
                    </a:cubicBezTo>
                    <a:moveTo>
                      <a:pt x="28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63"/>
                      <a:pt x="0" y="863"/>
                      <a:pt x="0" y="863"/>
                    </a:cubicBezTo>
                    <a:cubicBezTo>
                      <a:pt x="175" y="863"/>
                      <a:pt x="175" y="863"/>
                      <a:pt x="175" y="863"/>
                    </a:cubicBezTo>
                    <a:cubicBezTo>
                      <a:pt x="175" y="537"/>
                      <a:pt x="175" y="537"/>
                      <a:pt x="175" y="537"/>
                    </a:cubicBezTo>
                    <a:cubicBezTo>
                      <a:pt x="288" y="537"/>
                      <a:pt x="288" y="537"/>
                      <a:pt x="288" y="537"/>
                    </a:cubicBezTo>
                    <a:cubicBezTo>
                      <a:pt x="367" y="537"/>
                      <a:pt x="427" y="533"/>
                      <a:pt x="469" y="525"/>
                    </a:cubicBezTo>
                    <a:cubicBezTo>
                      <a:pt x="500" y="518"/>
                      <a:pt x="530" y="505"/>
                      <a:pt x="559" y="484"/>
                    </a:cubicBezTo>
                    <a:cubicBezTo>
                      <a:pt x="589" y="463"/>
                      <a:pt x="614" y="435"/>
                      <a:pt x="633" y="399"/>
                    </a:cubicBezTo>
                    <a:cubicBezTo>
                      <a:pt x="652" y="363"/>
                      <a:pt x="662" y="318"/>
                      <a:pt x="662" y="265"/>
                    </a:cubicBezTo>
                    <a:cubicBezTo>
                      <a:pt x="662" y="197"/>
                      <a:pt x="645" y="140"/>
                      <a:pt x="612" y="97"/>
                    </a:cubicBezTo>
                    <a:cubicBezTo>
                      <a:pt x="578" y="54"/>
                      <a:pt x="537" y="26"/>
                      <a:pt x="487" y="13"/>
                    </a:cubicBezTo>
                    <a:cubicBezTo>
                      <a:pt x="455" y="4"/>
                      <a:pt x="386" y="0"/>
                      <a:pt x="28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6" name="Freeform 7">
                <a:extLst>
                  <a:ext uri="{FF2B5EF4-FFF2-40B4-BE49-F238E27FC236}">
                    <a16:creationId xmlns:a16="http://schemas.microsoft.com/office/drawing/2014/main" id="{08B76AA1-AC25-41B1-AC76-26E5FAE79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6143" y="599790"/>
                <a:ext cx="222269" cy="278505"/>
              </a:xfrm>
              <a:custGeom>
                <a:avLst/>
                <a:gdLst>
                  <a:gd name="T0" fmla="*/ 664 w 664"/>
                  <a:gd name="T1" fmla="*/ 0 h 832"/>
                  <a:gd name="T2" fmla="*/ 0 w 664"/>
                  <a:gd name="T3" fmla="*/ 0 h 832"/>
                  <a:gd name="T4" fmla="*/ 0 w 664"/>
                  <a:gd name="T5" fmla="*/ 140 h 832"/>
                  <a:gd name="T6" fmla="*/ 248 w 664"/>
                  <a:gd name="T7" fmla="*/ 140 h 832"/>
                  <a:gd name="T8" fmla="*/ 248 w 664"/>
                  <a:gd name="T9" fmla="*/ 832 h 832"/>
                  <a:gd name="T10" fmla="*/ 416 w 664"/>
                  <a:gd name="T11" fmla="*/ 832 h 832"/>
                  <a:gd name="T12" fmla="*/ 416 w 664"/>
                  <a:gd name="T13" fmla="*/ 140 h 832"/>
                  <a:gd name="T14" fmla="*/ 664 w 664"/>
                  <a:gd name="T15" fmla="*/ 140 h 832"/>
                  <a:gd name="T16" fmla="*/ 664 w 664"/>
                  <a:gd name="T1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4" h="832">
                    <a:moveTo>
                      <a:pt x="664" y="0"/>
                    </a:moveTo>
                    <a:lnTo>
                      <a:pt x="0" y="0"/>
                    </a:lnTo>
                    <a:lnTo>
                      <a:pt x="0" y="140"/>
                    </a:lnTo>
                    <a:lnTo>
                      <a:pt x="248" y="140"/>
                    </a:lnTo>
                    <a:lnTo>
                      <a:pt x="248" y="832"/>
                    </a:lnTo>
                    <a:lnTo>
                      <a:pt x="416" y="832"/>
                    </a:lnTo>
                    <a:lnTo>
                      <a:pt x="416" y="140"/>
                    </a:lnTo>
                    <a:lnTo>
                      <a:pt x="664" y="140"/>
                    </a:lnTo>
                    <a:lnTo>
                      <a:pt x="66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7" name="Freeform 8">
                <a:extLst>
                  <a:ext uri="{FF2B5EF4-FFF2-40B4-BE49-F238E27FC236}">
                    <a16:creationId xmlns:a16="http://schemas.microsoft.com/office/drawing/2014/main" id="{57EF24A5-00CB-4CF2-BAA5-3C40779A66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6143" y="599790"/>
                <a:ext cx="222269" cy="278505"/>
              </a:xfrm>
              <a:custGeom>
                <a:avLst/>
                <a:gdLst>
                  <a:gd name="T0" fmla="*/ 664 w 664"/>
                  <a:gd name="T1" fmla="*/ 0 h 832"/>
                  <a:gd name="T2" fmla="*/ 0 w 664"/>
                  <a:gd name="T3" fmla="*/ 0 h 832"/>
                  <a:gd name="T4" fmla="*/ 0 w 664"/>
                  <a:gd name="T5" fmla="*/ 140 h 832"/>
                  <a:gd name="T6" fmla="*/ 248 w 664"/>
                  <a:gd name="T7" fmla="*/ 140 h 832"/>
                  <a:gd name="T8" fmla="*/ 248 w 664"/>
                  <a:gd name="T9" fmla="*/ 832 h 832"/>
                  <a:gd name="T10" fmla="*/ 416 w 664"/>
                  <a:gd name="T11" fmla="*/ 832 h 832"/>
                  <a:gd name="T12" fmla="*/ 416 w 664"/>
                  <a:gd name="T13" fmla="*/ 140 h 832"/>
                  <a:gd name="T14" fmla="*/ 664 w 664"/>
                  <a:gd name="T15" fmla="*/ 140 h 832"/>
                  <a:gd name="T16" fmla="*/ 664 w 664"/>
                  <a:gd name="T1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4" h="832">
                    <a:moveTo>
                      <a:pt x="664" y="0"/>
                    </a:moveTo>
                    <a:lnTo>
                      <a:pt x="0" y="0"/>
                    </a:lnTo>
                    <a:lnTo>
                      <a:pt x="0" y="140"/>
                    </a:lnTo>
                    <a:lnTo>
                      <a:pt x="248" y="140"/>
                    </a:lnTo>
                    <a:lnTo>
                      <a:pt x="248" y="832"/>
                    </a:lnTo>
                    <a:lnTo>
                      <a:pt x="416" y="832"/>
                    </a:lnTo>
                    <a:lnTo>
                      <a:pt x="416" y="140"/>
                    </a:lnTo>
                    <a:lnTo>
                      <a:pt x="664" y="140"/>
                    </a:lnTo>
                    <a:lnTo>
                      <a:pt x="66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8" name="Rectangle 9">
                <a:extLst>
                  <a:ext uri="{FF2B5EF4-FFF2-40B4-BE49-F238E27FC236}">
                    <a16:creationId xmlns:a16="http://schemas.microsoft.com/office/drawing/2014/main" id="{A41300D1-DB7B-4F6D-B896-9AF4A15748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74564" y="599790"/>
                <a:ext cx="56237" cy="27850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" name="Freeform 11">
                <a:extLst>
                  <a:ext uri="{FF2B5EF4-FFF2-40B4-BE49-F238E27FC236}">
                    <a16:creationId xmlns:a16="http://schemas.microsoft.com/office/drawing/2014/main" id="{03AC290F-BFC4-4A9E-B20C-A71AF5FA9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1097" y="599790"/>
                <a:ext cx="270472" cy="278505"/>
              </a:xfrm>
              <a:custGeom>
                <a:avLst/>
                <a:gdLst>
                  <a:gd name="T0" fmla="*/ 808 w 808"/>
                  <a:gd name="T1" fmla="*/ 0 h 832"/>
                  <a:gd name="T2" fmla="*/ 555 w 808"/>
                  <a:gd name="T3" fmla="*/ 0 h 832"/>
                  <a:gd name="T4" fmla="*/ 405 w 808"/>
                  <a:gd name="T5" fmla="*/ 568 h 832"/>
                  <a:gd name="T6" fmla="*/ 253 w 808"/>
                  <a:gd name="T7" fmla="*/ 0 h 832"/>
                  <a:gd name="T8" fmla="*/ 0 w 808"/>
                  <a:gd name="T9" fmla="*/ 0 h 832"/>
                  <a:gd name="T10" fmla="*/ 0 w 808"/>
                  <a:gd name="T11" fmla="*/ 832 h 832"/>
                  <a:gd name="T12" fmla="*/ 157 w 808"/>
                  <a:gd name="T13" fmla="*/ 832 h 832"/>
                  <a:gd name="T14" fmla="*/ 157 w 808"/>
                  <a:gd name="T15" fmla="*/ 176 h 832"/>
                  <a:gd name="T16" fmla="*/ 323 w 808"/>
                  <a:gd name="T17" fmla="*/ 832 h 832"/>
                  <a:gd name="T18" fmla="*/ 486 w 808"/>
                  <a:gd name="T19" fmla="*/ 832 h 832"/>
                  <a:gd name="T20" fmla="*/ 651 w 808"/>
                  <a:gd name="T21" fmla="*/ 176 h 832"/>
                  <a:gd name="T22" fmla="*/ 651 w 808"/>
                  <a:gd name="T23" fmla="*/ 832 h 832"/>
                  <a:gd name="T24" fmla="*/ 808 w 808"/>
                  <a:gd name="T25" fmla="*/ 832 h 832"/>
                  <a:gd name="T26" fmla="*/ 808 w 808"/>
                  <a:gd name="T2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08" h="832">
                    <a:moveTo>
                      <a:pt x="808" y="0"/>
                    </a:moveTo>
                    <a:lnTo>
                      <a:pt x="555" y="0"/>
                    </a:lnTo>
                    <a:lnTo>
                      <a:pt x="405" y="568"/>
                    </a:lnTo>
                    <a:lnTo>
                      <a:pt x="253" y="0"/>
                    </a:lnTo>
                    <a:lnTo>
                      <a:pt x="0" y="0"/>
                    </a:lnTo>
                    <a:lnTo>
                      <a:pt x="0" y="832"/>
                    </a:lnTo>
                    <a:lnTo>
                      <a:pt x="157" y="832"/>
                    </a:lnTo>
                    <a:lnTo>
                      <a:pt x="157" y="176"/>
                    </a:lnTo>
                    <a:lnTo>
                      <a:pt x="323" y="832"/>
                    </a:lnTo>
                    <a:lnTo>
                      <a:pt x="486" y="832"/>
                    </a:lnTo>
                    <a:lnTo>
                      <a:pt x="651" y="176"/>
                    </a:lnTo>
                    <a:lnTo>
                      <a:pt x="651" y="832"/>
                    </a:lnTo>
                    <a:lnTo>
                      <a:pt x="808" y="832"/>
                    </a:lnTo>
                    <a:lnTo>
                      <a:pt x="80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" name="Freeform 12">
                <a:extLst>
                  <a:ext uri="{FF2B5EF4-FFF2-40B4-BE49-F238E27FC236}">
                    <a16:creationId xmlns:a16="http://schemas.microsoft.com/office/drawing/2014/main" id="{D8F47A18-6AEE-4665-903E-39EA44F6B0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1097" y="599790"/>
                <a:ext cx="270472" cy="278505"/>
              </a:xfrm>
              <a:custGeom>
                <a:avLst/>
                <a:gdLst>
                  <a:gd name="T0" fmla="*/ 808 w 808"/>
                  <a:gd name="T1" fmla="*/ 0 h 832"/>
                  <a:gd name="T2" fmla="*/ 555 w 808"/>
                  <a:gd name="T3" fmla="*/ 0 h 832"/>
                  <a:gd name="T4" fmla="*/ 405 w 808"/>
                  <a:gd name="T5" fmla="*/ 568 h 832"/>
                  <a:gd name="T6" fmla="*/ 253 w 808"/>
                  <a:gd name="T7" fmla="*/ 0 h 832"/>
                  <a:gd name="T8" fmla="*/ 0 w 808"/>
                  <a:gd name="T9" fmla="*/ 0 h 832"/>
                  <a:gd name="T10" fmla="*/ 0 w 808"/>
                  <a:gd name="T11" fmla="*/ 832 h 832"/>
                  <a:gd name="T12" fmla="*/ 157 w 808"/>
                  <a:gd name="T13" fmla="*/ 832 h 832"/>
                  <a:gd name="T14" fmla="*/ 157 w 808"/>
                  <a:gd name="T15" fmla="*/ 176 h 832"/>
                  <a:gd name="T16" fmla="*/ 323 w 808"/>
                  <a:gd name="T17" fmla="*/ 832 h 832"/>
                  <a:gd name="T18" fmla="*/ 486 w 808"/>
                  <a:gd name="T19" fmla="*/ 832 h 832"/>
                  <a:gd name="T20" fmla="*/ 651 w 808"/>
                  <a:gd name="T21" fmla="*/ 176 h 832"/>
                  <a:gd name="T22" fmla="*/ 651 w 808"/>
                  <a:gd name="T23" fmla="*/ 832 h 832"/>
                  <a:gd name="T24" fmla="*/ 808 w 808"/>
                  <a:gd name="T25" fmla="*/ 832 h 832"/>
                  <a:gd name="T26" fmla="*/ 808 w 808"/>
                  <a:gd name="T2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08" h="832">
                    <a:moveTo>
                      <a:pt x="808" y="0"/>
                    </a:moveTo>
                    <a:lnTo>
                      <a:pt x="555" y="0"/>
                    </a:lnTo>
                    <a:lnTo>
                      <a:pt x="405" y="568"/>
                    </a:lnTo>
                    <a:lnTo>
                      <a:pt x="253" y="0"/>
                    </a:lnTo>
                    <a:lnTo>
                      <a:pt x="0" y="0"/>
                    </a:lnTo>
                    <a:lnTo>
                      <a:pt x="0" y="832"/>
                    </a:lnTo>
                    <a:lnTo>
                      <a:pt x="157" y="832"/>
                    </a:lnTo>
                    <a:lnTo>
                      <a:pt x="157" y="176"/>
                    </a:lnTo>
                    <a:lnTo>
                      <a:pt x="323" y="832"/>
                    </a:lnTo>
                    <a:lnTo>
                      <a:pt x="486" y="832"/>
                    </a:lnTo>
                    <a:lnTo>
                      <a:pt x="651" y="176"/>
                    </a:lnTo>
                    <a:lnTo>
                      <a:pt x="651" y="832"/>
                    </a:lnTo>
                    <a:lnTo>
                      <a:pt x="808" y="832"/>
                    </a:lnTo>
                    <a:lnTo>
                      <a:pt x="808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" name="Rectangle 13">
                <a:extLst>
                  <a:ext uri="{FF2B5EF4-FFF2-40B4-BE49-F238E27FC236}">
                    <a16:creationId xmlns:a16="http://schemas.microsoft.com/office/drawing/2014/main" id="{BD82A918-D681-4E83-85E7-D6298FC95E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43203" y="599790"/>
                <a:ext cx="56237" cy="27850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2" name="Freeform 15">
                <a:extLst>
                  <a:ext uri="{FF2B5EF4-FFF2-40B4-BE49-F238E27FC236}">
                    <a16:creationId xmlns:a16="http://schemas.microsoft.com/office/drawing/2014/main" id="{EAA65472-68D5-49D1-9A2B-755DFF5DA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46638" y="599790"/>
                <a:ext cx="227290" cy="278505"/>
              </a:xfrm>
              <a:custGeom>
                <a:avLst/>
                <a:gdLst>
                  <a:gd name="T0" fmla="*/ 661 w 679"/>
                  <a:gd name="T1" fmla="*/ 0 h 832"/>
                  <a:gd name="T2" fmla="*/ 49 w 679"/>
                  <a:gd name="T3" fmla="*/ 0 h 832"/>
                  <a:gd name="T4" fmla="*/ 49 w 679"/>
                  <a:gd name="T5" fmla="*/ 140 h 832"/>
                  <a:gd name="T6" fmla="*/ 438 w 679"/>
                  <a:gd name="T7" fmla="*/ 140 h 832"/>
                  <a:gd name="T8" fmla="*/ 0 w 679"/>
                  <a:gd name="T9" fmla="*/ 681 h 832"/>
                  <a:gd name="T10" fmla="*/ 0 w 679"/>
                  <a:gd name="T11" fmla="*/ 832 h 832"/>
                  <a:gd name="T12" fmla="*/ 679 w 679"/>
                  <a:gd name="T13" fmla="*/ 832 h 832"/>
                  <a:gd name="T14" fmla="*/ 679 w 679"/>
                  <a:gd name="T15" fmla="*/ 692 h 832"/>
                  <a:gd name="T16" fmla="*/ 203 w 679"/>
                  <a:gd name="T17" fmla="*/ 692 h 832"/>
                  <a:gd name="T18" fmla="*/ 661 w 679"/>
                  <a:gd name="T19" fmla="*/ 130 h 832"/>
                  <a:gd name="T20" fmla="*/ 661 w 679"/>
                  <a:gd name="T21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79" h="832">
                    <a:moveTo>
                      <a:pt x="661" y="0"/>
                    </a:moveTo>
                    <a:lnTo>
                      <a:pt x="49" y="0"/>
                    </a:lnTo>
                    <a:lnTo>
                      <a:pt x="49" y="140"/>
                    </a:lnTo>
                    <a:lnTo>
                      <a:pt x="438" y="140"/>
                    </a:lnTo>
                    <a:lnTo>
                      <a:pt x="0" y="681"/>
                    </a:lnTo>
                    <a:lnTo>
                      <a:pt x="0" y="832"/>
                    </a:lnTo>
                    <a:lnTo>
                      <a:pt x="679" y="832"/>
                    </a:lnTo>
                    <a:lnTo>
                      <a:pt x="679" y="692"/>
                    </a:lnTo>
                    <a:lnTo>
                      <a:pt x="203" y="692"/>
                    </a:lnTo>
                    <a:lnTo>
                      <a:pt x="661" y="130"/>
                    </a:lnTo>
                    <a:lnTo>
                      <a:pt x="66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3" name="Freeform 16">
                <a:extLst>
                  <a:ext uri="{FF2B5EF4-FFF2-40B4-BE49-F238E27FC236}">
                    <a16:creationId xmlns:a16="http://schemas.microsoft.com/office/drawing/2014/main" id="{640DEAE2-D0AE-4E2C-8075-F8779C58E3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46638" y="599790"/>
                <a:ext cx="227290" cy="278505"/>
              </a:xfrm>
              <a:custGeom>
                <a:avLst/>
                <a:gdLst>
                  <a:gd name="T0" fmla="*/ 661 w 679"/>
                  <a:gd name="T1" fmla="*/ 0 h 832"/>
                  <a:gd name="T2" fmla="*/ 49 w 679"/>
                  <a:gd name="T3" fmla="*/ 0 h 832"/>
                  <a:gd name="T4" fmla="*/ 49 w 679"/>
                  <a:gd name="T5" fmla="*/ 140 h 832"/>
                  <a:gd name="T6" fmla="*/ 438 w 679"/>
                  <a:gd name="T7" fmla="*/ 140 h 832"/>
                  <a:gd name="T8" fmla="*/ 0 w 679"/>
                  <a:gd name="T9" fmla="*/ 681 h 832"/>
                  <a:gd name="T10" fmla="*/ 0 w 679"/>
                  <a:gd name="T11" fmla="*/ 832 h 832"/>
                  <a:gd name="T12" fmla="*/ 679 w 679"/>
                  <a:gd name="T13" fmla="*/ 832 h 832"/>
                  <a:gd name="T14" fmla="*/ 679 w 679"/>
                  <a:gd name="T15" fmla="*/ 692 h 832"/>
                  <a:gd name="T16" fmla="*/ 203 w 679"/>
                  <a:gd name="T17" fmla="*/ 692 h 832"/>
                  <a:gd name="T18" fmla="*/ 661 w 679"/>
                  <a:gd name="T19" fmla="*/ 130 h 832"/>
                  <a:gd name="T20" fmla="*/ 661 w 679"/>
                  <a:gd name="T21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79" h="832">
                    <a:moveTo>
                      <a:pt x="661" y="0"/>
                    </a:moveTo>
                    <a:lnTo>
                      <a:pt x="49" y="0"/>
                    </a:lnTo>
                    <a:lnTo>
                      <a:pt x="49" y="140"/>
                    </a:lnTo>
                    <a:lnTo>
                      <a:pt x="438" y="140"/>
                    </a:lnTo>
                    <a:lnTo>
                      <a:pt x="0" y="681"/>
                    </a:lnTo>
                    <a:lnTo>
                      <a:pt x="0" y="832"/>
                    </a:lnTo>
                    <a:lnTo>
                      <a:pt x="679" y="832"/>
                    </a:lnTo>
                    <a:lnTo>
                      <a:pt x="679" y="692"/>
                    </a:lnTo>
                    <a:lnTo>
                      <a:pt x="203" y="692"/>
                    </a:lnTo>
                    <a:lnTo>
                      <a:pt x="661" y="130"/>
                    </a:lnTo>
                    <a:lnTo>
                      <a:pt x="66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" name="Freeform 17">
                <a:extLst>
                  <a:ext uri="{FF2B5EF4-FFF2-40B4-BE49-F238E27FC236}">
                    <a16:creationId xmlns:a16="http://schemas.microsoft.com/office/drawing/2014/main" id="{C2A0ACF2-8E36-4FA3-A447-53E3681A1E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2758" y="599790"/>
                <a:ext cx="212896" cy="278505"/>
              </a:xfrm>
              <a:custGeom>
                <a:avLst/>
                <a:gdLst>
                  <a:gd name="T0" fmla="*/ 620 w 636"/>
                  <a:gd name="T1" fmla="*/ 0 h 832"/>
                  <a:gd name="T2" fmla="*/ 0 w 636"/>
                  <a:gd name="T3" fmla="*/ 0 h 832"/>
                  <a:gd name="T4" fmla="*/ 0 w 636"/>
                  <a:gd name="T5" fmla="*/ 832 h 832"/>
                  <a:gd name="T6" fmla="*/ 636 w 636"/>
                  <a:gd name="T7" fmla="*/ 832 h 832"/>
                  <a:gd name="T8" fmla="*/ 636 w 636"/>
                  <a:gd name="T9" fmla="*/ 692 h 832"/>
                  <a:gd name="T10" fmla="*/ 168 w 636"/>
                  <a:gd name="T11" fmla="*/ 692 h 832"/>
                  <a:gd name="T12" fmla="*/ 168 w 636"/>
                  <a:gd name="T13" fmla="*/ 466 h 832"/>
                  <a:gd name="T14" fmla="*/ 589 w 636"/>
                  <a:gd name="T15" fmla="*/ 466 h 832"/>
                  <a:gd name="T16" fmla="*/ 589 w 636"/>
                  <a:gd name="T17" fmla="*/ 325 h 832"/>
                  <a:gd name="T18" fmla="*/ 168 w 636"/>
                  <a:gd name="T19" fmla="*/ 325 h 832"/>
                  <a:gd name="T20" fmla="*/ 168 w 636"/>
                  <a:gd name="T21" fmla="*/ 140 h 832"/>
                  <a:gd name="T22" fmla="*/ 620 w 636"/>
                  <a:gd name="T23" fmla="*/ 140 h 832"/>
                  <a:gd name="T24" fmla="*/ 620 w 636"/>
                  <a:gd name="T25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6" h="832">
                    <a:moveTo>
                      <a:pt x="620" y="0"/>
                    </a:moveTo>
                    <a:lnTo>
                      <a:pt x="0" y="0"/>
                    </a:lnTo>
                    <a:lnTo>
                      <a:pt x="0" y="832"/>
                    </a:lnTo>
                    <a:lnTo>
                      <a:pt x="636" y="832"/>
                    </a:lnTo>
                    <a:lnTo>
                      <a:pt x="636" y="692"/>
                    </a:lnTo>
                    <a:lnTo>
                      <a:pt x="168" y="692"/>
                    </a:lnTo>
                    <a:lnTo>
                      <a:pt x="168" y="466"/>
                    </a:lnTo>
                    <a:lnTo>
                      <a:pt x="589" y="466"/>
                    </a:lnTo>
                    <a:lnTo>
                      <a:pt x="589" y="325"/>
                    </a:lnTo>
                    <a:lnTo>
                      <a:pt x="168" y="325"/>
                    </a:lnTo>
                    <a:lnTo>
                      <a:pt x="168" y="140"/>
                    </a:lnTo>
                    <a:lnTo>
                      <a:pt x="620" y="140"/>
                    </a:lnTo>
                    <a:lnTo>
                      <a:pt x="6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5" name="Freeform 18">
                <a:extLst>
                  <a:ext uri="{FF2B5EF4-FFF2-40B4-BE49-F238E27FC236}">
                    <a16:creationId xmlns:a16="http://schemas.microsoft.com/office/drawing/2014/main" id="{F5F3B64D-6D34-4B70-A319-55BDF85D83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2758" y="599790"/>
                <a:ext cx="212896" cy="278505"/>
              </a:xfrm>
              <a:custGeom>
                <a:avLst/>
                <a:gdLst>
                  <a:gd name="T0" fmla="*/ 620 w 636"/>
                  <a:gd name="T1" fmla="*/ 0 h 832"/>
                  <a:gd name="T2" fmla="*/ 0 w 636"/>
                  <a:gd name="T3" fmla="*/ 0 h 832"/>
                  <a:gd name="T4" fmla="*/ 0 w 636"/>
                  <a:gd name="T5" fmla="*/ 832 h 832"/>
                  <a:gd name="T6" fmla="*/ 636 w 636"/>
                  <a:gd name="T7" fmla="*/ 832 h 832"/>
                  <a:gd name="T8" fmla="*/ 636 w 636"/>
                  <a:gd name="T9" fmla="*/ 692 h 832"/>
                  <a:gd name="T10" fmla="*/ 168 w 636"/>
                  <a:gd name="T11" fmla="*/ 692 h 832"/>
                  <a:gd name="T12" fmla="*/ 168 w 636"/>
                  <a:gd name="T13" fmla="*/ 466 h 832"/>
                  <a:gd name="T14" fmla="*/ 589 w 636"/>
                  <a:gd name="T15" fmla="*/ 466 h 832"/>
                  <a:gd name="T16" fmla="*/ 589 w 636"/>
                  <a:gd name="T17" fmla="*/ 325 h 832"/>
                  <a:gd name="T18" fmla="*/ 168 w 636"/>
                  <a:gd name="T19" fmla="*/ 325 h 832"/>
                  <a:gd name="T20" fmla="*/ 168 w 636"/>
                  <a:gd name="T21" fmla="*/ 140 h 832"/>
                  <a:gd name="T22" fmla="*/ 620 w 636"/>
                  <a:gd name="T23" fmla="*/ 140 h 832"/>
                  <a:gd name="T24" fmla="*/ 620 w 636"/>
                  <a:gd name="T25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6" h="832">
                    <a:moveTo>
                      <a:pt x="620" y="0"/>
                    </a:moveTo>
                    <a:lnTo>
                      <a:pt x="0" y="0"/>
                    </a:lnTo>
                    <a:lnTo>
                      <a:pt x="0" y="832"/>
                    </a:lnTo>
                    <a:lnTo>
                      <a:pt x="636" y="832"/>
                    </a:lnTo>
                    <a:lnTo>
                      <a:pt x="636" y="692"/>
                    </a:lnTo>
                    <a:lnTo>
                      <a:pt x="168" y="692"/>
                    </a:lnTo>
                    <a:lnTo>
                      <a:pt x="168" y="466"/>
                    </a:lnTo>
                    <a:lnTo>
                      <a:pt x="589" y="466"/>
                    </a:lnTo>
                    <a:lnTo>
                      <a:pt x="589" y="325"/>
                    </a:lnTo>
                    <a:lnTo>
                      <a:pt x="168" y="325"/>
                    </a:lnTo>
                    <a:lnTo>
                      <a:pt x="168" y="140"/>
                    </a:lnTo>
                    <a:lnTo>
                      <a:pt x="620" y="140"/>
                    </a:lnTo>
                    <a:lnTo>
                      <a:pt x="62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6" name="Freeform 19">
                <a:extLst>
                  <a:ext uri="{FF2B5EF4-FFF2-40B4-BE49-F238E27FC236}">
                    <a16:creationId xmlns:a16="http://schemas.microsoft.com/office/drawing/2014/main" id="{8899748A-CA2E-4343-8AF7-BFDF2E57FD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73489" y="961311"/>
                <a:ext cx="222269" cy="278505"/>
              </a:xfrm>
              <a:custGeom>
                <a:avLst/>
                <a:gdLst>
                  <a:gd name="T0" fmla="*/ 664 w 664"/>
                  <a:gd name="T1" fmla="*/ 0 h 832"/>
                  <a:gd name="T2" fmla="*/ 0 w 664"/>
                  <a:gd name="T3" fmla="*/ 0 h 832"/>
                  <a:gd name="T4" fmla="*/ 0 w 664"/>
                  <a:gd name="T5" fmla="*/ 141 h 832"/>
                  <a:gd name="T6" fmla="*/ 247 w 664"/>
                  <a:gd name="T7" fmla="*/ 141 h 832"/>
                  <a:gd name="T8" fmla="*/ 247 w 664"/>
                  <a:gd name="T9" fmla="*/ 832 h 832"/>
                  <a:gd name="T10" fmla="*/ 417 w 664"/>
                  <a:gd name="T11" fmla="*/ 832 h 832"/>
                  <a:gd name="T12" fmla="*/ 417 w 664"/>
                  <a:gd name="T13" fmla="*/ 141 h 832"/>
                  <a:gd name="T14" fmla="*/ 664 w 664"/>
                  <a:gd name="T15" fmla="*/ 141 h 832"/>
                  <a:gd name="T16" fmla="*/ 664 w 664"/>
                  <a:gd name="T1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4" h="832">
                    <a:moveTo>
                      <a:pt x="664" y="0"/>
                    </a:moveTo>
                    <a:lnTo>
                      <a:pt x="0" y="0"/>
                    </a:lnTo>
                    <a:lnTo>
                      <a:pt x="0" y="141"/>
                    </a:lnTo>
                    <a:lnTo>
                      <a:pt x="247" y="141"/>
                    </a:lnTo>
                    <a:lnTo>
                      <a:pt x="247" y="832"/>
                    </a:lnTo>
                    <a:lnTo>
                      <a:pt x="417" y="832"/>
                    </a:lnTo>
                    <a:lnTo>
                      <a:pt x="417" y="141"/>
                    </a:lnTo>
                    <a:lnTo>
                      <a:pt x="664" y="141"/>
                    </a:lnTo>
                    <a:lnTo>
                      <a:pt x="66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7" name="Freeform 20">
                <a:extLst>
                  <a:ext uri="{FF2B5EF4-FFF2-40B4-BE49-F238E27FC236}">
                    <a16:creationId xmlns:a16="http://schemas.microsoft.com/office/drawing/2014/main" id="{41605B5F-23E3-4157-8787-0539D6EA7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73489" y="961311"/>
                <a:ext cx="222269" cy="278505"/>
              </a:xfrm>
              <a:custGeom>
                <a:avLst/>
                <a:gdLst>
                  <a:gd name="T0" fmla="*/ 664 w 664"/>
                  <a:gd name="T1" fmla="*/ 0 h 832"/>
                  <a:gd name="T2" fmla="*/ 0 w 664"/>
                  <a:gd name="T3" fmla="*/ 0 h 832"/>
                  <a:gd name="T4" fmla="*/ 0 w 664"/>
                  <a:gd name="T5" fmla="*/ 141 h 832"/>
                  <a:gd name="T6" fmla="*/ 247 w 664"/>
                  <a:gd name="T7" fmla="*/ 141 h 832"/>
                  <a:gd name="T8" fmla="*/ 247 w 664"/>
                  <a:gd name="T9" fmla="*/ 832 h 832"/>
                  <a:gd name="T10" fmla="*/ 417 w 664"/>
                  <a:gd name="T11" fmla="*/ 832 h 832"/>
                  <a:gd name="T12" fmla="*/ 417 w 664"/>
                  <a:gd name="T13" fmla="*/ 141 h 832"/>
                  <a:gd name="T14" fmla="*/ 664 w 664"/>
                  <a:gd name="T15" fmla="*/ 141 h 832"/>
                  <a:gd name="T16" fmla="*/ 664 w 664"/>
                  <a:gd name="T1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4" h="832">
                    <a:moveTo>
                      <a:pt x="664" y="0"/>
                    </a:moveTo>
                    <a:lnTo>
                      <a:pt x="0" y="0"/>
                    </a:lnTo>
                    <a:lnTo>
                      <a:pt x="0" y="141"/>
                    </a:lnTo>
                    <a:lnTo>
                      <a:pt x="247" y="141"/>
                    </a:lnTo>
                    <a:lnTo>
                      <a:pt x="247" y="832"/>
                    </a:lnTo>
                    <a:lnTo>
                      <a:pt x="417" y="832"/>
                    </a:lnTo>
                    <a:lnTo>
                      <a:pt x="417" y="141"/>
                    </a:lnTo>
                    <a:lnTo>
                      <a:pt x="664" y="141"/>
                    </a:lnTo>
                    <a:lnTo>
                      <a:pt x="66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8" name="Freeform 21">
                <a:extLst>
                  <a:ext uri="{FF2B5EF4-FFF2-40B4-BE49-F238E27FC236}">
                    <a16:creationId xmlns:a16="http://schemas.microsoft.com/office/drawing/2014/main" id="{D5310D4B-ADD3-4398-902F-EFE50FCFD1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32244" y="961311"/>
                <a:ext cx="223942" cy="278505"/>
              </a:xfrm>
              <a:custGeom>
                <a:avLst/>
                <a:gdLst>
                  <a:gd name="T0" fmla="*/ 669 w 669"/>
                  <a:gd name="T1" fmla="*/ 0 h 832"/>
                  <a:gd name="T2" fmla="*/ 500 w 669"/>
                  <a:gd name="T3" fmla="*/ 0 h 832"/>
                  <a:gd name="T4" fmla="*/ 500 w 669"/>
                  <a:gd name="T5" fmla="*/ 328 h 832"/>
                  <a:gd name="T6" fmla="*/ 170 w 669"/>
                  <a:gd name="T7" fmla="*/ 328 h 832"/>
                  <a:gd name="T8" fmla="*/ 170 w 669"/>
                  <a:gd name="T9" fmla="*/ 0 h 832"/>
                  <a:gd name="T10" fmla="*/ 0 w 669"/>
                  <a:gd name="T11" fmla="*/ 0 h 832"/>
                  <a:gd name="T12" fmla="*/ 0 w 669"/>
                  <a:gd name="T13" fmla="*/ 832 h 832"/>
                  <a:gd name="T14" fmla="*/ 170 w 669"/>
                  <a:gd name="T15" fmla="*/ 832 h 832"/>
                  <a:gd name="T16" fmla="*/ 170 w 669"/>
                  <a:gd name="T17" fmla="*/ 469 h 832"/>
                  <a:gd name="T18" fmla="*/ 500 w 669"/>
                  <a:gd name="T19" fmla="*/ 469 h 832"/>
                  <a:gd name="T20" fmla="*/ 500 w 669"/>
                  <a:gd name="T21" fmla="*/ 832 h 832"/>
                  <a:gd name="T22" fmla="*/ 669 w 669"/>
                  <a:gd name="T23" fmla="*/ 832 h 832"/>
                  <a:gd name="T24" fmla="*/ 669 w 669"/>
                  <a:gd name="T25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69" h="832">
                    <a:moveTo>
                      <a:pt x="669" y="0"/>
                    </a:moveTo>
                    <a:lnTo>
                      <a:pt x="500" y="0"/>
                    </a:lnTo>
                    <a:lnTo>
                      <a:pt x="500" y="328"/>
                    </a:lnTo>
                    <a:lnTo>
                      <a:pt x="170" y="328"/>
                    </a:lnTo>
                    <a:lnTo>
                      <a:pt x="170" y="0"/>
                    </a:lnTo>
                    <a:lnTo>
                      <a:pt x="0" y="0"/>
                    </a:lnTo>
                    <a:lnTo>
                      <a:pt x="0" y="832"/>
                    </a:lnTo>
                    <a:lnTo>
                      <a:pt x="170" y="832"/>
                    </a:lnTo>
                    <a:lnTo>
                      <a:pt x="170" y="469"/>
                    </a:lnTo>
                    <a:lnTo>
                      <a:pt x="500" y="469"/>
                    </a:lnTo>
                    <a:lnTo>
                      <a:pt x="500" y="832"/>
                    </a:lnTo>
                    <a:lnTo>
                      <a:pt x="669" y="832"/>
                    </a:lnTo>
                    <a:lnTo>
                      <a:pt x="66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" name="Freeform 22">
                <a:extLst>
                  <a:ext uri="{FF2B5EF4-FFF2-40B4-BE49-F238E27FC236}">
                    <a16:creationId xmlns:a16="http://schemas.microsoft.com/office/drawing/2014/main" id="{EE75BB41-A669-4A23-B60B-A47AE42FAA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32244" y="961311"/>
                <a:ext cx="223942" cy="278505"/>
              </a:xfrm>
              <a:custGeom>
                <a:avLst/>
                <a:gdLst>
                  <a:gd name="T0" fmla="*/ 669 w 669"/>
                  <a:gd name="T1" fmla="*/ 0 h 832"/>
                  <a:gd name="T2" fmla="*/ 500 w 669"/>
                  <a:gd name="T3" fmla="*/ 0 h 832"/>
                  <a:gd name="T4" fmla="*/ 500 w 669"/>
                  <a:gd name="T5" fmla="*/ 328 h 832"/>
                  <a:gd name="T6" fmla="*/ 170 w 669"/>
                  <a:gd name="T7" fmla="*/ 328 h 832"/>
                  <a:gd name="T8" fmla="*/ 170 w 669"/>
                  <a:gd name="T9" fmla="*/ 0 h 832"/>
                  <a:gd name="T10" fmla="*/ 0 w 669"/>
                  <a:gd name="T11" fmla="*/ 0 h 832"/>
                  <a:gd name="T12" fmla="*/ 0 w 669"/>
                  <a:gd name="T13" fmla="*/ 832 h 832"/>
                  <a:gd name="T14" fmla="*/ 170 w 669"/>
                  <a:gd name="T15" fmla="*/ 832 h 832"/>
                  <a:gd name="T16" fmla="*/ 170 w 669"/>
                  <a:gd name="T17" fmla="*/ 469 h 832"/>
                  <a:gd name="T18" fmla="*/ 500 w 669"/>
                  <a:gd name="T19" fmla="*/ 469 h 832"/>
                  <a:gd name="T20" fmla="*/ 500 w 669"/>
                  <a:gd name="T21" fmla="*/ 832 h 832"/>
                  <a:gd name="T22" fmla="*/ 669 w 669"/>
                  <a:gd name="T23" fmla="*/ 832 h 832"/>
                  <a:gd name="T24" fmla="*/ 669 w 669"/>
                  <a:gd name="T25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69" h="832">
                    <a:moveTo>
                      <a:pt x="669" y="0"/>
                    </a:moveTo>
                    <a:lnTo>
                      <a:pt x="500" y="0"/>
                    </a:lnTo>
                    <a:lnTo>
                      <a:pt x="500" y="328"/>
                    </a:lnTo>
                    <a:lnTo>
                      <a:pt x="170" y="328"/>
                    </a:lnTo>
                    <a:lnTo>
                      <a:pt x="170" y="0"/>
                    </a:lnTo>
                    <a:lnTo>
                      <a:pt x="0" y="0"/>
                    </a:lnTo>
                    <a:lnTo>
                      <a:pt x="0" y="832"/>
                    </a:lnTo>
                    <a:lnTo>
                      <a:pt x="170" y="832"/>
                    </a:lnTo>
                    <a:lnTo>
                      <a:pt x="170" y="469"/>
                    </a:lnTo>
                    <a:lnTo>
                      <a:pt x="500" y="469"/>
                    </a:lnTo>
                    <a:lnTo>
                      <a:pt x="500" y="832"/>
                    </a:lnTo>
                    <a:lnTo>
                      <a:pt x="669" y="832"/>
                    </a:lnTo>
                    <a:lnTo>
                      <a:pt x="669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" name="Freeform 23">
                <a:extLst>
                  <a:ext uri="{FF2B5EF4-FFF2-40B4-BE49-F238E27FC236}">
                    <a16:creationId xmlns:a16="http://schemas.microsoft.com/office/drawing/2014/main" id="{F88D6C1F-841B-43E7-A396-DF071FFD37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2758" y="961311"/>
                <a:ext cx="212896" cy="278505"/>
              </a:xfrm>
              <a:custGeom>
                <a:avLst/>
                <a:gdLst>
                  <a:gd name="T0" fmla="*/ 620 w 636"/>
                  <a:gd name="T1" fmla="*/ 0 h 832"/>
                  <a:gd name="T2" fmla="*/ 0 w 636"/>
                  <a:gd name="T3" fmla="*/ 0 h 832"/>
                  <a:gd name="T4" fmla="*/ 0 w 636"/>
                  <a:gd name="T5" fmla="*/ 832 h 832"/>
                  <a:gd name="T6" fmla="*/ 636 w 636"/>
                  <a:gd name="T7" fmla="*/ 832 h 832"/>
                  <a:gd name="T8" fmla="*/ 636 w 636"/>
                  <a:gd name="T9" fmla="*/ 692 h 832"/>
                  <a:gd name="T10" fmla="*/ 168 w 636"/>
                  <a:gd name="T11" fmla="*/ 692 h 832"/>
                  <a:gd name="T12" fmla="*/ 168 w 636"/>
                  <a:gd name="T13" fmla="*/ 466 h 832"/>
                  <a:gd name="T14" fmla="*/ 589 w 636"/>
                  <a:gd name="T15" fmla="*/ 466 h 832"/>
                  <a:gd name="T16" fmla="*/ 589 w 636"/>
                  <a:gd name="T17" fmla="*/ 325 h 832"/>
                  <a:gd name="T18" fmla="*/ 168 w 636"/>
                  <a:gd name="T19" fmla="*/ 325 h 832"/>
                  <a:gd name="T20" fmla="*/ 168 w 636"/>
                  <a:gd name="T21" fmla="*/ 141 h 832"/>
                  <a:gd name="T22" fmla="*/ 620 w 636"/>
                  <a:gd name="T23" fmla="*/ 141 h 832"/>
                  <a:gd name="T24" fmla="*/ 620 w 636"/>
                  <a:gd name="T25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6" h="832">
                    <a:moveTo>
                      <a:pt x="620" y="0"/>
                    </a:moveTo>
                    <a:lnTo>
                      <a:pt x="0" y="0"/>
                    </a:lnTo>
                    <a:lnTo>
                      <a:pt x="0" y="832"/>
                    </a:lnTo>
                    <a:lnTo>
                      <a:pt x="636" y="832"/>
                    </a:lnTo>
                    <a:lnTo>
                      <a:pt x="636" y="692"/>
                    </a:lnTo>
                    <a:lnTo>
                      <a:pt x="168" y="692"/>
                    </a:lnTo>
                    <a:lnTo>
                      <a:pt x="168" y="466"/>
                    </a:lnTo>
                    <a:lnTo>
                      <a:pt x="589" y="466"/>
                    </a:lnTo>
                    <a:lnTo>
                      <a:pt x="589" y="325"/>
                    </a:lnTo>
                    <a:lnTo>
                      <a:pt x="168" y="325"/>
                    </a:lnTo>
                    <a:lnTo>
                      <a:pt x="168" y="141"/>
                    </a:lnTo>
                    <a:lnTo>
                      <a:pt x="620" y="141"/>
                    </a:lnTo>
                    <a:lnTo>
                      <a:pt x="6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" name="Freeform 24">
                <a:extLst>
                  <a:ext uri="{FF2B5EF4-FFF2-40B4-BE49-F238E27FC236}">
                    <a16:creationId xmlns:a16="http://schemas.microsoft.com/office/drawing/2014/main" id="{C59BF554-4002-4AEA-8670-247F8E3D3D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2758" y="961311"/>
                <a:ext cx="212896" cy="278505"/>
              </a:xfrm>
              <a:custGeom>
                <a:avLst/>
                <a:gdLst>
                  <a:gd name="T0" fmla="*/ 620 w 636"/>
                  <a:gd name="T1" fmla="*/ 0 h 832"/>
                  <a:gd name="T2" fmla="*/ 0 w 636"/>
                  <a:gd name="T3" fmla="*/ 0 h 832"/>
                  <a:gd name="T4" fmla="*/ 0 w 636"/>
                  <a:gd name="T5" fmla="*/ 832 h 832"/>
                  <a:gd name="T6" fmla="*/ 636 w 636"/>
                  <a:gd name="T7" fmla="*/ 832 h 832"/>
                  <a:gd name="T8" fmla="*/ 636 w 636"/>
                  <a:gd name="T9" fmla="*/ 692 h 832"/>
                  <a:gd name="T10" fmla="*/ 168 w 636"/>
                  <a:gd name="T11" fmla="*/ 692 h 832"/>
                  <a:gd name="T12" fmla="*/ 168 w 636"/>
                  <a:gd name="T13" fmla="*/ 466 h 832"/>
                  <a:gd name="T14" fmla="*/ 589 w 636"/>
                  <a:gd name="T15" fmla="*/ 466 h 832"/>
                  <a:gd name="T16" fmla="*/ 589 w 636"/>
                  <a:gd name="T17" fmla="*/ 325 h 832"/>
                  <a:gd name="T18" fmla="*/ 168 w 636"/>
                  <a:gd name="T19" fmla="*/ 325 h 832"/>
                  <a:gd name="T20" fmla="*/ 168 w 636"/>
                  <a:gd name="T21" fmla="*/ 141 h 832"/>
                  <a:gd name="T22" fmla="*/ 620 w 636"/>
                  <a:gd name="T23" fmla="*/ 141 h 832"/>
                  <a:gd name="T24" fmla="*/ 620 w 636"/>
                  <a:gd name="T25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6" h="832">
                    <a:moveTo>
                      <a:pt x="620" y="0"/>
                    </a:moveTo>
                    <a:lnTo>
                      <a:pt x="0" y="0"/>
                    </a:lnTo>
                    <a:lnTo>
                      <a:pt x="0" y="832"/>
                    </a:lnTo>
                    <a:lnTo>
                      <a:pt x="636" y="832"/>
                    </a:lnTo>
                    <a:lnTo>
                      <a:pt x="636" y="692"/>
                    </a:lnTo>
                    <a:lnTo>
                      <a:pt x="168" y="692"/>
                    </a:lnTo>
                    <a:lnTo>
                      <a:pt x="168" y="466"/>
                    </a:lnTo>
                    <a:lnTo>
                      <a:pt x="589" y="466"/>
                    </a:lnTo>
                    <a:lnTo>
                      <a:pt x="589" y="325"/>
                    </a:lnTo>
                    <a:lnTo>
                      <a:pt x="168" y="325"/>
                    </a:lnTo>
                    <a:lnTo>
                      <a:pt x="168" y="141"/>
                    </a:lnTo>
                    <a:lnTo>
                      <a:pt x="620" y="141"/>
                    </a:lnTo>
                    <a:lnTo>
                      <a:pt x="62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" name="Freeform 25">
                <a:extLst>
                  <a:ext uri="{FF2B5EF4-FFF2-40B4-BE49-F238E27FC236}">
                    <a16:creationId xmlns:a16="http://schemas.microsoft.com/office/drawing/2014/main" id="{2D2D7EE7-F625-46A0-9B36-267D93B048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68857" y="1322833"/>
                <a:ext cx="192142" cy="278840"/>
              </a:xfrm>
              <a:custGeom>
                <a:avLst/>
                <a:gdLst>
                  <a:gd name="T0" fmla="*/ 574 w 574"/>
                  <a:gd name="T1" fmla="*/ 0 h 833"/>
                  <a:gd name="T2" fmla="*/ 0 w 574"/>
                  <a:gd name="T3" fmla="*/ 0 h 833"/>
                  <a:gd name="T4" fmla="*/ 0 w 574"/>
                  <a:gd name="T5" fmla="*/ 833 h 833"/>
                  <a:gd name="T6" fmla="*/ 169 w 574"/>
                  <a:gd name="T7" fmla="*/ 833 h 833"/>
                  <a:gd name="T8" fmla="*/ 169 w 574"/>
                  <a:gd name="T9" fmla="*/ 479 h 833"/>
                  <a:gd name="T10" fmla="*/ 518 w 574"/>
                  <a:gd name="T11" fmla="*/ 479 h 833"/>
                  <a:gd name="T12" fmla="*/ 518 w 574"/>
                  <a:gd name="T13" fmla="*/ 338 h 833"/>
                  <a:gd name="T14" fmla="*/ 169 w 574"/>
                  <a:gd name="T15" fmla="*/ 338 h 833"/>
                  <a:gd name="T16" fmla="*/ 169 w 574"/>
                  <a:gd name="T17" fmla="*/ 141 h 833"/>
                  <a:gd name="T18" fmla="*/ 574 w 574"/>
                  <a:gd name="T19" fmla="*/ 141 h 833"/>
                  <a:gd name="T20" fmla="*/ 574 w 574"/>
                  <a:gd name="T21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4" h="833">
                    <a:moveTo>
                      <a:pt x="574" y="0"/>
                    </a:moveTo>
                    <a:lnTo>
                      <a:pt x="0" y="0"/>
                    </a:lnTo>
                    <a:lnTo>
                      <a:pt x="0" y="833"/>
                    </a:lnTo>
                    <a:lnTo>
                      <a:pt x="169" y="833"/>
                    </a:lnTo>
                    <a:lnTo>
                      <a:pt x="169" y="479"/>
                    </a:lnTo>
                    <a:lnTo>
                      <a:pt x="518" y="479"/>
                    </a:lnTo>
                    <a:lnTo>
                      <a:pt x="518" y="338"/>
                    </a:lnTo>
                    <a:lnTo>
                      <a:pt x="169" y="338"/>
                    </a:lnTo>
                    <a:lnTo>
                      <a:pt x="169" y="141"/>
                    </a:lnTo>
                    <a:lnTo>
                      <a:pt x="574" y="141"/>
                    </a:lnTo>
                    <a:lnTo>
                      <a:pt x="57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3" name="Freeform 26">
                <a:extLst>
                  <a:ext uri="{FF2B5EF4-FFF2-40B4-BE49-F238E27FC236}">
                    <a16:creationId xmlns:a16="http://schemas.microsoft.com/office/drawing/2014/main" id="{A90BD03C-F4AD-42F5-9187-E5C75187EC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68857" y="1322833"/>
                <a:ext cx="192142" cy="278840"/>
              </a:xfrm>
              <a:custGeom>
                <a:avLst/>
                <a:gdLst>
                  <a:gd name="T0" fmla="*/ 574 w 574"/>
                  <a:gd name="T1" fmla="*/ 0 h 833"/>
                  <a:gd name="T2" fmla="*/ 0 w 574"/>
                  <a:gd name="T3" fmla="*/ 0 h 833"/>
                  <a:gd name="T4" fmla="*/ 0 w 574"/>
                  <a:gd name="T5" fmla="*/ 833 h 833"/>
                  <a:gd name="T6" fmla="*/ 169 w 574"/>
                  <a:gd name="T7" fmla="*/ 833 h 833"/>
                  <a:gd name="T8" fmla="*/ 169 w 574"/>
                  <a:gd name="T9" fmla="*/ 479 h 833"/>
                  <a:gd name="T10" fmla="*/ 518 w 574"/>
                  <a:gd name="T11" fmla="*/ 479 h 833"/>
                  <a:gd name="T12" fmla="*/ 518 w 574"/>
                  <a:gd name="T13" fmla="*/ 338 h 833"/>
                  <a:gd name="T14" fmla="*/ 169 w 574"/>
                  <a:gd name="T15" fmla="*/ 338 h 833"/>
                  <a:gd name="T16" fmla="*/ 169 w 574"/>
                  <a:gd name="T17" fmla="*/ 141 h 833"/>
                  <a:gd name="T18" fmla="*/ 574 w 574"/>
                  <a:gd name="T19" fmla="*/ 141 h 833"/>
                  <a:gd name="T20" fmla="*/ 574 w 574"/>
                  <a:gd name="T21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4" h="833">
                    <a:moveTo>
                      <a:pt x="574" y="0"/>
                    </a:moveTo>
                    <a:lnTo>
                      <a:pt x="0" y="0"/>
                    </a:lnTo>
                    <a:lnTo>
                      <a:pt x="0" y="833"/>
                    </a:lnTo>
                    <a:lnTo>
                      <a:pt x="169" y="833"/>
                    </a:lnTo>
                    <a:lnTo>
                      <a:pt x="169" y="479"/>
                    </a:lnTo>
                    <a:lnTo>
                      <a:pt x="518" y="479"/>
                    </a:lnTo>
                    <a:lnTo>
                      <a:pt x="518" y="338"/>
                    </a:lnTo>
                    <a:lnTo>
                      <a:pt x="169" y="338"/>
                    </a:lnTo>
                    <a:lnTo>
                      <a:pt x="169" y="141"/>
                    </a:lnTo>
                    <a:lnTo>
                      <a:pt x="574" y="141"/>
                    </a:lnTo>
                    <a:lnTo>
                      <a:pt x="57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4" name="Freeform 27">
                <a:extLst>
                  <a:ext uri="{FF2B5EF4-FFF2-40B4-BE49-F238E27FC236}">
                    <a16:creationId xmlns:a16="http://schemas.microsoft.com/office/drawing/2014/main" id="{8323CD0C-83AB-4221-932B-1A4BFA0991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90456" y="1322833"/>
                <a:ext cx="223273" cy="283526"/>
              </a:xfrm>
              <a:custGeom>
                <a:avLst/>
                <a:gdLst>
                  <a:gd name="T0" fmla="*/ 689 w 689"/>
                  <a:gd name="T1" fmla="*/ 0 h 878"/>
                  <a:gd name="T2" fmla="*/ 515 w 689"/>
                  <a:gd name="T3" fmla="*/ 0 h 878"/>
                  <a:gd name="T4" fmla="*/ 515 w 689"/>
                  <a:gd name="T5" fmla="*/ 478 h 878"/>
                  <a:gd name="T6" fmla="*/ 507 w 689"/>
                  <a:gd name="T7" fmla="*/ 624 h 878"/>
                  <a:gd name="T8" fmla="*/ 462 w 689"/>
                  <a:gd name="T9" fmla="*/ 699 h 878"/>
                  <a:gd name="T10" fmla="*/ 350 w 689"/>
                  <a:gd name="T11" fmla="*/ 729 h 878"/>
                  <a:gd name="T12" fmla="*/ 235 w 689"/>
                  <a:gd name="T13" fmla="*/ 697 h 878"/>
                  <a:gd name="T14" fmla="*/ 181 w 689"/>
                  <a:gd name="T15" fmla="*/ 612 h 878"/>
                  <a:gd name="T16" fmla="*/ 175 w 689"/>
                  <a:gd name="T17" fmla="*/ 468 h 878"/>
                  <a:gd name="T18" fmla="*/ 175 w 689"/>
                  <a:gd name="T19" fmla="*/ 0 h 878"/>
                  <a:gd name="T20" fmla="*/ 0 w 689"/>
                  <a:gd name="T21" fmla="*/ 0 h 878"/>
                  <a:gd name="T22" fmla="*/ 0 w 689"/>
                  <a:gd name="T23" fmla="*/ 460 h 878"/>
                  <a:gd name="T24" fmla="*/ 18 w 689"/>
                  <a:gd name="T25" fmla="*/ 680 h 878"/>
                  <a:gd name="T26" fmla="*/ 66 w 689"/>
                  <a:gd name="T27" fmla="*/ 775 h 878"/>
                  <a:gd name="T28" fmla="*/ 167 w 689"/>
                  <a:gd name="T29" fmla="*/ 850 h 878"/>
                  <a:gd name="T30" fmla="*/ 355 w 689"/>
                  <a:gd name="T31" fmla="*/ 878 h 878"/>
                  <a:gd name="T32" fmla="*/ 521 w 689"/>
                  <a:gd name="T33" fmla="*/ 852 h 878"/>
                  <a:gd name="T34" fmla="*/ 623 w 689"/>
                  <a:gd name="T35" fmla="*/ 782 h 878"/>
                  <a:gd name="T36" fmla="*/ 675 w 689"/>
                  <a:gd name="T37" fmla="*/ 673 h 878"/>
                  <a:gd name="T38" fmla="*/ 689 w 689"/>
                  <a:gd name="T39" fmla="*/ 453 h 878"/>
                  <a:gd name="T40" fmla="*/ 689 w 689"/>
                  <a:gd name="T41" fmla="*/ 0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89" h="878">
                    <a:moveTo>
                      <a:pt x="689" y="0"/>
                    </a:moveTo>
                    <a:cubicBezTo>
                      <a:pt x="515" y="0"/>
                      <a:pt x="515" y="0"/>
                      <a:pt x="515" y="0"/>
                    </a:cubicBezTo>
                    <a:cubicBezTo>
                      <a:pt x="515" y="478"/>
                      <a:pt x="515" y="478"/>
                      <a:pt x="515" y="478"/>
                    </a:cubicBezTo>
                    <a:cubicBezTo>
                      <a:pt x="515" y="546"/>
                      <a:pt x="512" y="595"/>
                      <a:pt x="507" y="624"/>
                    </a:cubicBezTo>
                    <a:cubicBezTo>
                      <a:pt x="502" y="654"/>
                      <a:pt x="487" y="679"/>
                      <a:pt x="462" y="699"/>
                    </a:cubicBezTo>
                    <a:cubicBezTo>
                      <a:pt x="436" y="719"/>
                      <a:pt x="399" y="729"/>
                      <a:pt x="350" y="729"/>
                    </a:cubicBezTo>
                    <a:cubicBezTo>
                      <a:pt x="301" y="729"/>
                      <a:pt x="263" y="718"/>
                      <a:pt x="235" y="697"/>
                    </a:cubicBezTo>
                    <a:cubicBezTo>
                      <a:pt x="206" y="676"/>
                      <a:pt x="189" y="647"/>
                      <a:pt x="181" y="612"/>
                    </a:cubicBezTo>
                    <a:cubicBezTo>
                      <a:pt x="177" y="590"/>
                      <a:pt x="175" y="542"/>
                      <a:pt x="175" y="468"/>
                    </a:cubicBezTo>
                    <a:cubicBezTo>
                      <a:pt x="175" y="0"/>
                      <a:pt x="175" y="0"/>
                      <a:pt x="17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557"/>
                      <a:pt x="6" y="630"/>
                      <a:pt x="18" y="680"/>
                    </a:cubicBezTo>
                    <a:cubicBezTo>
                      <a:pt x="25" y="713"/>
                      <a:pt x="42" y="745"/>
                      <a:pt x="66" y="775"/>
                    </a:cubicBezTo>
                    <a:cubicBezTo>
                      <a:pt x="91" y="806"/>
                      <a:pt x="125" y="830"/>
                      <a:pt x="167" y="850"/>
                    </a:cubicBezTo>
                    <a:cubicBezTo>
                      <a:pt x="210" y="869"/>
                      <a:pt x="273" y="878"/>
                      <a:pt x="355" y="878"/>
                    </a:cubicBezTo>
                    <a:cubicBezTo>
                      <a:pt x="423" y="878"/>
                      <a:pt x="479" y="869"/>
                      <a:pt x="521" y="852"/>
                    </a:cubicBezTo>
                    <a:cubicBezTo>
                      <a:pt x="563" y="834"/>
                      <a:pt x="597" y="811"/>
                      <a:pt x="623" y="782"/>
                    </a:cubicBezTo>
                    <a:cubicBezTo>
                      <a:pt x="648" y="752"/>
                      <a:pt x="665" y="716"/>
                      <a:pt x="675" y="673"/>
                    </a:cubicBezTo>
                    <a:cubicBezTo>
                      <a:pt x="684" y="630"/>
                      <a:pt x="689" y="557"/>
                      <a:pt x="689" y="453"/>
                    </a:cubicBezTo>
                    <a:cubicBezTo>
                      <a:pt x="689" y="0"/>
                      <a:pt x="689" y="0"/>
                      <a:pt x="689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" name="Freeform 28">
                <a:extLst>
                  <a:ext uri="{FF2B5EF4-FFF2-40B4-BE49-F238E27FC236}">
                    <a16:creationId xmlns:a16="http://schemas.microsoft.com/office/drawing/2014/main" id="{285BF790-439A-4BD3-977E-4BC60FA8D7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34818" y="1322833"/>
                <a:ext cx="222269" cy="278840"/>
              </a:xfrm>
              <a:custGeom>
                <a:avLst/>
                <a:gdLst>
                  <a:gd name="T0" fmla="*/ 664 w 664"/>
                  <a:gd name="T1" fmla="*/ 0 h 833"/>
                  <a:gd name="T2" fmla="*/ 0 w 664"/>
                  <a:gd name="T3" fmla="*/ 0 h 833"/>
                  <a:gd name="T4" fmla="*/ 0 w 664"/>
                  <a:gd name="T5" fmla="*/ 141 h 833"/>
                  <a:gd name="T6" fmla="*/ 248 w 664"/>
                  <a:gd name="T7" fmla="*/ 141 h 833"/>
                  <a:gd name="T8" fmla="*/ 248 w 664"/>
                  <a:gd name="T9" fmla="*/ 833 h 833"/>
                  <a:gd name="T10" fmla="*/ 417 w 664"/>
                  <a:gd name="T11" fmla="*/ 833 h 833"/>
                  <a:gd name="T12" fmla="*/ 417 w 664"/>
                  <a:gd name="T13" fmla="*/ 141 h 833"/>
                  <a:gd name="T14" fmla="*/ 664 w 664"/>
                  <a:gd name="T15" fmla="*/ 141 h 833"/>
                  <a:gd name="T16" fmla="*/ 664 w 664"/>
                  <a:gd name="T17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4" h="833">
                    <a:moveTo>
                      <a:pt x="664" y="0"/>
                    </a:moveTo>
                    <a:lnTo>
                      <a:pt x="0" y="0"/>
                    </a:lnTo>
                    <a:lnTo>
                      <a:pt x="0" y="141"/>
                    </a:lnTo>
                    <a:lnTo>
                      <a:pt x="248" y="141"/>
                    </a:lnTo>
                    <a:lnTo>
                      <a:pt x="248" y="833"/>
                    </a:lnTo>
                    <a:lnTo>
                      <a:pt x="417" y="833"/>
                    </a:lnTo>
                    <a:lnTo>
                      <a:pt x="417" y="141"/>
                    </a:lnTo>
                    <a:lnTo>
                      <a:pt x="664" y="141"/>
                    </a:lnTo>
                    <a:lnTo>
                      <a:pt x="66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6" name="Freeform 29">
                <a:extLst>
                  <a:ext uri="{FF2B5EF4-FFF2-40B4-BE49-F238E27FC236}">
                    <a16:creationId xmlns:a16="http://schemas.microsoft.com/office/drawing/2014/main" id="{3B0EC235-EA6C-4F25-8A0A-D7F3CDDEA6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34818" y="1322833"/>
                <a:ext cx="222269" cy="278840"/>
              </a:xfrm>
              <a:custGeom>
                <a:avLst/>
                <a:gdLst>
                  <a:gd name="T0" fmla="*/ 664 w 664"/>
                  <a:gd name="T1" fmla="*/ 0 h 833"/>
                  <a:gd name="T2" fmla="*/ 0 w 664"/>
                  <a:gd name="T3" fmla="*/ 0 h 833"/>
                  <a:gd name="T4" fmla="*/ 0 w 664"/>
                  <a:gd name="T5" fmla="*/ 141 h 833"/>
                  <a:gd name="T6" fmla="*/ 248 w 664"/>
                  <a:gd name="T7" fmla="*/ 141 h 833"/>
                  <a:gd name="T8" fmla="*/ 248 w 664"/>
                  <a:gd name="T9" fmla="*/ 833 h 833"/>
                  <a:gd name="T10" fmla="*/ 417 w 664"/>
                  <a:gd name="T11" fmla="*/ 833 h 833"/>
                  <a:gd name="T12" fmla="*/ 417 w 664"/>
                  <a:gd name="T13" fmla="*/ 141 h 833"/>
                  <a:gd name="T14" fmla="*/ 664 w 664"/>
                  <a:gd name="T15" fmla="*/ 141 h 833"/>
                  <a:gd name="T16" fmla="*/ 664 w 664"/>
                  <a:gd name="T17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4" h="833">
                    <a:moveTo>
                      <a:pt x="664" y="0"/>
                    </a:moveTo>
                    <a:lnTo>
                      <a:pt x="0" y="0"/>
                    </a:lnTo>
                    <a:lnTo>
                      <a:pt x="0" y="141"/>
                    </a:lnTo>
                    <a:lnTo>
                      <a:pt x="248" y="141"/>
                    </a:lnTo>
                    <a:lnTo>
                      <a:pt x="248" y="833"/>
                    </a:lnTo>
                    <a:lnTo>
                      <a:pt x="417" y="833"/>
                    </a:lnTo>
                    <a:lnTo>
                      <a:pt x="417" y="141"/>
                    </a:lnTo>
                    <a:lnTo>
                      <a:pt x="664" y="141"/>
                    </a:lnTo>
                    <a:lnTo>
                      <a:pt x="66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7" name="Freeform 30">
                <a:extLst>
                  <a:ext uri="{FF2B5EF4-FFF2-40B4-BE49-F238E27FC236}">
                    <a16:creationId xmlns:a16="http://schemas.microsoft.com/office/drawing/2014/main" id="{E9DE1108-9829-4464-B8AE-04C300BC9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74828" y="1322833"/>
                <a:ext cx="223608" cy="283526"/>
              </a:xfrm>
              <a:custGeom>
                <a:avLst/>
                <a:gdLst>
                  <a:gd name="T0" fmla="*/ 689 w 689"/>
                  <a:gd name="T1" fmla="*/ 0 h 878"/>
                  <a:gd name="T2" fmla="*/ 514 w 689"/>
                  <a:gd name="T3" fmla="*/ 0 h 878"/>
                  <a:gd name="T4" fmla="*/ 514 w 689"/>
                  <a:gd name="T5" fmla="*/ 478 h 878"/>
                  <a:gd name="T6" fmla="*/ 507 w 689"/>
                  <a:gd name="T7" fmla="*/ 624 h 878"/>
                  <a:gd name="T8" fmla="*/ 461 w 689"/>
                  <a:gd name="T9" fmla="*/ 699 h 878"/>
                  <a:gd name="T10" fmla="*/ 349 w 689"/>
                  <a:gd name="T11" fmla="*/ 729 h 878"/>
                  <a:gd name="T12" fmla="*/ 234 w 689"/>
                  <a:gd name="T13" fmla="*/ 697 h 878"/>
                  <a:gd name="T14" fmla="*/ 181 w 689"/>
                  <a:gd name="T15" fmla="*/ 612 h 878"/>
                  <a:gd name="T16" fmla="*/ 174 w 689"/>
                  <a:gd name="T17" fmla="*/ 468 h 878"/>
                  <a:gd name="T18" fmla="*/ 174 w 689"/>
                  <a:gd name="T19" fmla="*/ 0 h 878"/>
                  <a:gd name="T20" fmla="*/ 0 w 689"/>
                  <a:gd name="T21" fmla="*/ 0 h 878"/>
                  <a:gd name="T22" fmla="*/ 0 w 689"/>
                  <a:gd name="T23" fmla="*/ 460 h 878"/>
                  <a:gd name="T24" fmla="*/ 17 w 689"/>
                  <a:gd name="T25" fmla="*/ 680 h 878"/>
                  <a:gd name="T26" fmla="*/ 66 w 689"/>
                  <a:gd name="T27" fmla="*/ 775 h 878"/>
                  <a:gd name="T28" fmla="*/ 167 w 689"/>
                  <a:gd name="T29" fmla="*/ 850 h 878"/>
                  <a:gd name="T30" fmla="*/ 355 w 689"/>
                  <a:gd name="T31" fmla="*/ 878 h 878"/>
                  <a:gd name="T32" fmla="*/ 521 w 689"/>
                  <a:gd name="T33" fmla="*/ 852 h 878"/>
                  <a:gd name="T34" fmla="*/ 622 w 689"/>
                  <a:gd name="T35" fmla="*/ 782 h 878"/>
                  <a:gd name="T36" fmla="*/ 674 w 689"/>
                  <a:gd name="T37" fmla="*/ 673 h 878"/>
                  <a:gd name="T38" fmla="*/ 689 w 689"/>
                  <a:gd name="T39" fmla="*/ 453 h 878"/>
                  <a:gd name="T40" fmla="*/ 689 w 689"/>
                  <a:gd name="T41" fmla="*/ 0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89" h="878">
                    <a:moveTo>
                      <a:pt x="689" y="0"/>
                    </a:moveTo>
                    <a:cubicBezTo>
                      <a:pt x="514" y="0"/>
                      <a:pt x="514" y="0"/>
                      <a:pt x="514" y="0"/>
                    </a:cubicBezTo>
                    <a:cubicBezTo>
                      <a:pt x="514" y="478"/>
                      <a:pt x="514" y="478"/>
                      <a:pt x="514" y="478"/>
                    </a:cubicBezTo>
                    <a:cubicBezTo>
                      <a:pt x="514" y="546"/>
                      <a:pt x="512" y="595"/>
                      <a:pt x="507" y="624"/>
                    </a:cubicBezTo>
                    <a:cubicBezTo>
                      <a:pt x="501" y="654"/>
                      <a:pt x="486" y="679"/>
                      <a:pt x="461" y="699"/>
                    </a:cubicBezTo>
                    <a:cubicBezTo>
                      <a:pt x="436" y="719"/>
                      <a:pt x="399" y="729"/>
                      <a:pt x="349" y="729"/>
                    </a:cubicBezTo>
                    <a:cubicBezTo>
                      <a:pt x="301" y="729"/>
                      <a:pt x="262" y="718"/>
                      <a:pt x="234" y="697"/>
                    </a:cubicBezTo>
                    <a:cubicBezTo>
                      <a:pt x="206" y="676"/>
                      <a:pt x="188" y="647"/>
                      <a:pt x="181" y="612"/>
                    </a:cubicBezTo>
                    <a:cubicBezTo>
                      <a:pt x="177" y="590"/>
                      <a:pt x="174" y="542"/>
                      <a:pt x="174" y="468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557"/>
                      <a:pt x="6" y="630"/>
                      <a:pt x="17" y="680"/>
                    </a:cubicBezTo>
                    <a:cubicBezTo>
                      <a:pt x="25" y="713"/>
                      <a:pt x="41" y="745"/>
                      <a:pt x="66" y="775"/>
                    </a:cubicBezTo>
                    <a:cubicBezTo>
                      <a:pt x="91" y="806"/>
                      <a:pt x="124" y="830"/>
                      <a:pt x="167" y="850"/>
                    </a:cubicBezTo>
                    <a:cubicBezTo>
                      <a:pt x="210" y="869"/>
                      <a:pt x="272" y="878"/>
                      <a:pt x="355" y="878"/>
                    </a:cubicBezTo>
                    <a:cubicBezTo>
                      <a:pt x="423" y="878"/>
                      <a:pt x="478" y="869"/>
                      <a:pt x="521" y="852"/>
                    </a:cubicBezTo>
                    <a:cubicBezTo>
                      <a:pt x="563" y="834"/>
                      <a:pt x="597" y="811"/>
                      <a:pt x="622" y="782"/>
                    </a:cubicBezTo>
                    <a:cubicBezTo>
                      <a:pt x="648" y="752"/>
                      <a:pt x="665" y="716"/>
                      <a:pt x="674" y="673"/>
                    </a:cubicBezTo>
                    <a:cubicBezTo>
                      <a:pt x="684" y="630"/>
                      <a:pt x="689" y="557"/>
                      <a:pt x="689" y="453"/>
                    </a:cubicBezTo>
                    <a:cubicBezTo>
                      <a:pt x="689" y="0"/>
                      <a:pt x="689" y="0"/>
                      <a:pt x="689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" name="Freeform 31">
                <a:extLst>
                  <a:ext uri="{FF2B5EF4-FFF2-40B4-BE49-F238E27FC236}">
                    <a16:creationId xmlns:a16="http://schemas.microsoft.com/office/drawing/2014/main" id="{A1408F8A-A6A3-4803-86C8-56E6272D5E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38605" y="1322833"/>
                <a:ext cx="251391" cy="278840"/>
              </a:xfrm>
              <a:custGeom>
                <a:avLst/>
                <a:gdLst>
                  <a:gd name="T0" fmla="*/ 174 w 776"/>
                  <a:gd name="T1" fmla="*/ 365 h 863"/>
                  <a:gd name="T2" fmla="*/ 174 w 776"/>
                  <a:gd name="T3" fmla="*/ 146 h 863"/>
                  <a:gd name="T4" fmla="*/ 310 w 776"/>
                  <a:gd name="T5" fmla="*/ 146 h 863"/>
                  <a:gd name="T6" fmla="*/ 437 w 776"/>
                  <a:gd name="T7" fmla="*/ 149 h 863"/>
                  <a:gd name="T8" fmla="*/ 503 w 776"/>
                  <a:gd name="T9" fmla="*/ 183 h 863"/>
                  <a:gd name="T10" fmla="*/ 526 w 776"/>
                  <a:gd name="T11" fmla="*/ 253 h 863"/>
                  <a:gd name="T12" fmla="*/ 508 w 776"/>
                  <a:gd name="T13" fmla="*/ 318 h 863"/>
                  <a:gd name="T14" fmla="*/ 460 w 776"/>
                  <a:gd name="T15" fmla="*/ 354 h 863"/>
                  <a:gd name="T16" fmla="*/ 303 w 776"/>
                  <a:gd name="T17" fmla="*/ 365 h 863"/>
                  <a:gd name="T18" fmla="*/ 174 w 776"/>
                  <a:gd name="T19" fmla="*/ 365 h 863"/>
                  <a:gd name="T20" fmla="*/ 367 w 776"/>
                  <a:gd name="T21" fmla="*/ 0 h 863"/>
                  <a:gd name="T22" fmla="*/ 0 w 776"/>
                  <a:gd name="T23" fmla="*/ 0 h 863"/>
                  <a:gd name="T24" fmla="*/ 0 w 776"/>
                  <a:gd name="T25" fmla="*/ 863 h 863"/>
                  <a:gd name="T26" fmla="*/ 174 w 776"/>
                  <a:gd name="T27" fmla="*/ 863 h 863"/>
                  <a:gd name="T28" fmla="*/ 174 w 776"/>
                  <a:gd name="T29" fmla="*/ 503 h 863"/>
                  <a:gd name="T30" fmla="*/ 209 w 776"/>
                  <a:gd name="T31" fmla="*/ 503 h 863"/>
                  <a:gd name="T32" fmla="*/ 297 w 776"/>
                  <a:gd name="T33" fmla="*/ 513 h 863"/>
                  <a:gd name="T34" fmla="*/ 349 w 776"/>
                  <a:gd name="T35" fmla="*/ 549 h 863"/>
                  <a:gd name="T36" fmla="*/ 441 w 776"/>
                  <a:gd name="T37" fmla="*/ 676 h 863"/>
                  <a:gd name="T38" fmla="*/ 567 w 776"/>
                  <a:gd name="T39" fmla="*/ 863 h 863"/>
                  <a:gd name="T40" fmla="*/ 776 w 776"/>
                  <a:gd name="T41" fmla="*/ 863 h 863"/>
                  <a:gd name="T42" fmla="*/ 670 w 776"/>
                  <a:gd name="T43" fmla="*/ 695 h 863"/>
                  <a:gd name="T44" fmla="*/ 571 w 776"/>
                  <a:gd name="T45" fmla="*/ 555 h 863"/>
                  <a:gd name="T46" fmla="*/ 478 w 776"/>
                  <a:gd name="T47" fmla="*/ 482 h 863"/>
                  <a:gd name="T48" fmla="*/ 649 w 776"/>
                  <a:gd name="T49" fmla="*/ 402 h 863"/>
                  <a:gd name="T50" fmla="*/ 706 w 776"/>
                  <a:gd name="T51" fmla="*/ 242 h 863"/>
                  <a:gd name="T52" fmla="*/ 668 w 776"/>
                  <a:gd name="T53" fmla="*/ 106 h 863"/>
                  <a:gd name="T54" fmla="*/ 568 w 776"/>
                  <a:gd name="T55" fmla="*/ 23 h 863"/>
                  <a:gd name="T56" fmla="*/ 367 w 776"/>
                  <a:gd name="T57" fmla="*/ 0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76" h="863">
                    <a:moveTo>
                      <a:pt x="174" y="365"/>
                    </a:moveTo>
                    <a:cubicBezTo>
                      <a:pt x="174" y="146"/>
                      <a:pt x="174" y="146"/>
                      <a:pt x="174" y="146"/>
                    </a:cubicBezTo>
                    <a:cubicBezTo>
                      <a:pt x="310" y="146"/>
                      <a:pt x="310" y="146"/>
                      <a:pt x="310" y="146"/>
                    </a:cubicBezTo>
                    <a:cubicBezTo>
                      <a:pt x="381" y="146"/>
                      <a:pt x="423" y="147"/>
                      <a:pt x="437" y="149"/>
                    </a:cubicBezTo>
                    <a:cubicBezTo>
                      <a:pt x="465" y="154"/>
                      <a:pt x="487" y="165"/>
                      <a:pt x="503" y="183"/>
                    </a:cubicBezTo>
                    <a:cubicBezTo>
                      <a:pt x="518" y="201"/>
                      <a:pt x="526" y="224"/>
                      <a:pt x="526" y="253"/>
                    </a:cubicBezTo>
                    <a:cubicBezTo>
                      <a:pt x="526" y="279"/>
                      <a:pt x="520" y="301"/>
                      <a:pt x="508" y="318"/>
                    </a:cubicBezTo>
                    <a:cubicBezTo>
                      <a:pt x="497" y="335"/>
                      <a:pt x="480" y="347"/>
                      <a:pt x="460" y="354"/>
                    </a:cubicBezTo>
                    <a:cubicBezTo>
                      <a:pt x="439" y="362"/>
                      <a:pt x="387" y="365"/>
                      <a:pt x="303" y="365"/>
                    </a:cubicBezTo>
                    <a:cubicBezTo>
                      <a:pt x="174" y="365"/>
                      <a:pt x="174" y="365"/>
                      <a:pt x="174" y="365"/>
                    </a:cubicBezTo>
                    <a:moveTo>
                      <a:pt x="36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63"/>
                      <a:pt x="0" y="863"/>
                      <a:pt x="0" y="863"/>
                    </a:cubicBezTo>
                    <a:cubicBezTo>
                      <a:pt x="174" y="863"/>
                      <a:pt x="174" y="863"/>
                      <a:pt x="174" y="863"/>
                    </a:cubicBezTo>
                    <a:cubicBezTo>
                      <a:pt x="174" y="503"/>
                      <a:pt x="174" y="503"/>
                      <a:pt x="174" y="503"/>
                    </a:cubicBezTo>
                    <a:cubicBezTo>
                      <a:pt x="209" y="503"/>
                      <a:pt x="209" y="503"/>
                      <a:pt x="209" y="503"/>
                    </a:cubicBezTo>
                    <a:cubicBezTo>
                      <a:pt x="249" y="503"/>
                      <a:pt x="279" y="506"/>
                      <a:pt x="297" y="513"/>
                    </a:cubicBezTo>
                    <a:cubicBezTo>
                      <a:pt x="316" y="519"/>
                      <a:pt x="333" y="531"/>
                      <a:pt x="349" y="549"/>
                    </a:cubicBezTo>
                    <a:cubicBezTo>
                      <a:pt x="366" y="566"/>
                      <a:pt x="397" y="608"/>
                      <a:pt x="441" y="676"/>
                    </a:cubicBezTo>
                    <a:cubicBezTo>
                      <a:pt x="567" y="863"/>
                      <a:pt x="567" y="863"/>
                      <a:pt x="567" y="863"/>
                    </a:cubicBezTo>
                    <a:cubicBezTo>
                      <a:pt x="776" y="863"/>
                      <a:pt x="776" y="863"/>
                      <a:pt x="776" y="863"/>
                    </a:cubicBezTo>
                    <a:cubicBezTo>
                      <a:pt x="670" y="695"/>
                      <a:pt x="670" y="695"/>
                      <a:pt x="670" y="695"/>
                    </a:cubicBezTo>
                    <a:cubicBezTo>
                      <a:pt x="629" y="628"/>
                      <a:pt x="596" y="581"/>
                      <a:pt x="571" y="555"/>
                    </a:cubicBezTo>
                    <a:cubicBezTo>
                      <a:pt x="547" y="528"/>
                      <a:pt x="516" y="504"/>
                      <a:pt x="478" y="482"/>
                    </a:cubicBezTo>
                    <a:cubicBezTo>
                      <a:pt x="554" y="471"/>
                      <a:pt x="611" y="445"/>
                      <a:pt x="649" y="402"/>
                    </a:cubicBezTo>
                    <a:cubicBezTo>
                      <a:pt x="687" y="360"/>
                      <a:pt x="706" y="307"/>
                      <a:pt x="706" y="242"/>
                    </a:cubicBezTo>
                    <a:cubicBezTo>
                      <a:pt x="706" y="191"/>
                      <a:pt x="693" y="146"/>
                      <a:pt x="668" y="106"/>
                    </a:cubicBezTo>
                    <a:cubicBezTo>
                      <a:pt x="643" y="66"/>
                      <a:pt x="610" y="39"/>
                      <a:pt x="568" y="23"/>
                    </a:cubicBezTo>
                    <a:cubicBezTo>
                      <a:pt x="526" y="8"/>
                      <a:pt x="459" y="0"/>
                      <a:pt x="36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" name="Freeform 32">
                <a:extLst>
                  <a:ext uri="{FF2B5EF4-FFF2-40B4-BE49-F238E27FC236}">
                    <a16:creationId xmlns:a16="http://schemas.microsoft.com/office/drawing/2014/main" id="{5F46BFD7-1345-44FC-AEBD-5677892124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2758" y="1322833"/>
                <a:ext cx="212896" cy="278840"/>
              </a:xfrm>
              <a:custGeom>
                <a:avLst/>
                <a:gdLst>
                  <a:gd name="T0" fmla="*/ 620 w 636"/>
                  <a:gd name="T1" fmla="*/ 0 h 833"/>
                  <a:gd name="T2" fmla="*/ 0 w 636"/>
                  <a:gd name="T3" fmla="*/ 0 h 833"/>
                  <a:gd name="T4" fmla="*/ 0 w 636"/>
                  <a:gd name="T5" fmla="*/ 833 h 833"/>
                  <a:gd name="T6" fmla="*/ 636 w 636"/>
                  <a:gd name="T7" fmla="*/ 833 h 833"/>
                  <a:gd name="T8" fmla="*/ 636 w 636"/>
                  <a:gd name="T9" fmla="*/ 693 h 833"/>
                  <a:gd name="T10" fmla="*/ 168 w 636"/>
                  <a:gd name="T11" fmla="*/ 693 h 833"/>
                  <a:gd name="T12" fmla="*/ 168 w 636"/>
                  <a:gd name="T13" fmla="*/ 466 h 833"/>
                  <a:gd name="T14" fmla="*/ 589 w 636"/>
                  <a:gd name="T15" fmla="*/ 466 h 833"/>
                  <a:gd name="T16" fmla="*/ 589 w 636"/>
                  <a:gd name="T17" fmla="*/ 325 h 833"/>
                  <a:gd name="T18" fmla="*/ 168 w 636"/>
                  <a:gd name="T19" fmla="*/ 325 h 833"/>
                  <a:gd name="T20" fmla="*/ 168 w 636"/>
                  <a:gd name="T21" fmla="*/ 141 h 833"/>
                  <a:gd name="T22" fmla="*/ 620 w 636"/>
                  <a:gd name="T23" fmla="*/ 141 h 833"/>
                  <a:gd name="T24" fmla="*/ 620 w 636"/>
                  <a:gd name="T25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6" h="833">
                    <a:moveTo>
                      <a:pt x="620" y="0"/>
                    </a:moveTo>
                    <a:lnTo>
                      <a:pt x="0" y="0"/>
                    </a:lnTo>
                    <a:lnTo>
                      <a:pt x="0" y="833"/>
                    </a:lnTo>
                    <a:lnTo>
                      <a:pt x="636" y="833"/>
                    </a:lnTo>
                    <a:lnTo>
                      <a:pt x="636" y="693"/>
                    </a:lnTo>
                    <a:lnTo>
                      <a:pt x="168" y="693"/>
                    </a:lnTo>
                    <a:lnTo>
                      <a:pt x="168" y="466"/>
                    </a:lnTo>
                    <a:lnTo>
                      <a:pt x="589" y="466"/>
                    </a:lnTo>
                    <a:lnTo>
                      <a:pt x="589" y="325"/>
                    </a:lnTo>
                    <a:lnTo>
                      <a:pt x="168" y="325"/>
                    </a:lnTo>
                    <a:lnTo>
                      <a:pt x="168" y="141"/>
                    </a:lnTo>
                    <a:lnTo>
                      <a:pt x="620" y="141"/>
                    </a:lnTo>
                    <a:lnTo>
                      <a:pt x="6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30" name="Freeform 33">
                <a:extLst>
                  <a:ext uri="{FF2B5EF4-FFF2-40B4-BE49-F238E27FC236}">
                    <a16:creationId xmlns:a16="http://schemas.microsoft.com/office/drawing/2014/main" id="{03AEEE7A-4EBC-40F7-ADEB-562087BF8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2758" y="1322833"/>
                <a:ext cx="212896" cy="278840"/>
              </a:xfrm>
              <a:custGeom>
                <a:avLst/>
                <a:gdLst>
                  <a:gd name="T0" fmla="*/ 620 w 636"/>
                  <a:gd name="T1" fmla="*/ 0 h 833"/>
                  <a:gd name="T2" fmla="*/ 0 w 636"/>
                  <a:gd name="T3" fmla="*/ 0 h 833"/>
                  <a:gd name="T4" fmla="*/ 0 w 636"/>
                  <a:gd name="T5" fmla="*/ 833 h 833"/>
                  <a:gd name="T6" fmla="*/ 636 w 636"/>
                  <a:gd name="T7" fmla="*/ 833 h 833"/>
                  <a:gd name="T8" fmla="*/ 636 w 636"/>
                  <a:gd name="T9" fmla="*/ 693 h 833"/>
                  <a:gd name="T10" fmla="*/ 168 w 636"/>
                  <a:gd name="T11" fmla="*/ 693 h 833"/>
                  <a:gd name="T12" fmla="*/ 168 w 636"/>
                  <a:gd name="T13" fmla="*/ 466 h 833"/>
                  <a:gd name="T14" fmla="*/ 589 w 636"/>
                  <a:gd name="T15" fmla="*/ 466 h 833"/>
                  <a:gd name="T16" fmla="*/ 589 w 636"/>
                  <a:gd name="T17" fmla="*/ 325 h 833"/>
                  <a:gd name="T18" fmla="*/ 168 w 636"/>
                  <a:gd name="T19" fmla="*/ 325 h 833"/>
                  <a:gd name="T20" fmla="*/ 168 w 636"/>
                  <a:gd name="T21" fmla="*/ 141 h 833"/>
                  <a:gd name="T22" fmla="*/ 620 w 636"/>
                  <a:gd name="T23" fmla="*/ 141 h 833"/>
                  <a:gd name="T24" fmla="*/ 620 w 636"/>
                  <a:gd name="T25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6" h="833">
                    <a:moveTo>
                      <a:pt x="620" y="0"/>
                    </a:moveTo>
                    <a:lnTo>
                      <a:pt x="0" y="0"/>
                    </a:lnTo>
                    <a:lnTo>
                      <a:pt x="0" y="833"/>
                    </a:lnTo>
                    <a:lnTo>
                      <a:pt x="636" y="833"/>
                    </a:lnTo>
                    <a:lnTo>
                      <a:pt x="636" y="693"/>
                    </a:lnTo>
                    <a:lnTo>
                      <a:pt x="168" y="693"/>
                    </a:lnTo>
                    <a:lnTo>
                      <a:pt x="168" y="466"/>
                    </a:lnTo>
                    <a:lnTo>
                      <a:pt x="589" y="466"/>
                    </a:lnTo>
                    <a:lnTo>
                      <a:pt x="589" y="325"/>
                    </a:lnTo>
                    <a:lnTo>
                      <a:pt x="168" y="325"/>
                    </a:lnTo>
                    <a:lnTo>
                      <a:pt x="168" y="141"/>
                    </a:lnTo>
                    <a:lnTo>
                      <a:pt x="620" y="141"/>
                    </a:lnTo>
                    <a:lnTo>
                      <a:pt x="62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7C3E22CF-8266-497A-8A9A-21A92F43E7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60116" y="160944"/>
              <a:ext cx="362526" cy="361186"/>
            </a:xfrm>
            <a:custGeom>
              <a:avLst/>
              <a:gdLst>
                <a:gd name="T0" fmla="*/ 1083 w 1083"/>
                <a:gd name="T1" fmla="*/ 1079 h 1079"/>
                <a:gd name="T2" fmla="*/ 1083 w 1083"/>
                <a:gd name="T3" fmla="*/ 0 h 1079"/>
                <a:gd name="T4" fmla="*/ 0 w 1083"/>
                <a:gd name="T5" fmla="*/ 0 h 1079"/>
                <a:gd name="T6" fmla="*/ 1083 w 1083"/>
                <a:gd name="T7" fmla="*/ 1079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3" h="1079">
                  <a:moveTo>
                    <a:pt x="1083" y="1079"/>
                  </a:moveTo>
                  <a:lnTo>
                    <a:pt x="1083" y="0"/>
                  </a:lnTo>
                  <a:lnTo>
                    <a:pt x="0" y="0"/>
                  </a:lnTo>
                  <a:lnTo>
                    <a:pt x="1083" y="107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01" name="Freeform 71">
            <a:extLst>
              <a:ext uri="{FF2B5EF4-FFF2-40B4-BE49-F238E27FC236}">
                <a16:creationId xmlns:a16="http://schemas.microsoft.com/office/drawing/2014/main" id="{C8352147-C159-4227-85FF-4FB6F570C096}"/>
              </a:ext>
            </a:extLst>
          </p:cNvPr>
          <p:cNvSpPr>
            <a:spLocks/>
          </p:cNvSpPr>
          <p:nvPr/>
        </p:nvSpPr>
        <p:spPr bwMode="auto">
          <a:xfrm>
            <a:off x="1723769" y="0"/>
            <a:ext cx="6877129" cy="3422633"/>
          </a:xfrm>
          <a:custGeom>
            <a:avLst/>
            <a:gdLst>
              <a:gd name="T0" fmla="*/ 1079 w 1079"/>
              <a:gd name="T1" fmla="*/ 0 h 537"/>
              <a:gd name="T2" fmla="*/ 0 w 1079"/>
              <a:gd name="T3" fmla="*/ 0 h 537"/>
              <a:gd name="T4" fmla="*/ 539 w 1079"/>
              <a:gd name="T5" fmla="*/ 537 h 537"/>
              <a:gd name="T6" fmla="*/ 1079 w 1079"/>
              <a:gd name="T7" fmla="*/ 0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79" h="537">
                <a:moveTo>
                  <a:pt x="1079" y="0"/>
                </a:moveTo>
                <a:lnTo>
                  <a:pt x="0" y="0"/>
                </a:lnTo>
                <a:lnTo>
                  <a:pt x="539" y="537"/>
                </a:lnTo>
                <a:lnTo>
                  <a:pt x="1079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35" name="Titre 234">
            <a:extLst>
              <a:ext uri="{FF2B5EF4-FFF2-40B4-BE49-F238E27FC236}">
                <a16:creationId xmlns:a16="http://schemas.microsoft.com/office/drawing/2014/main" id="{7EF550BC-7F88-404C-87C1-5ABCC51A77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8654" y="3074373"/>
            <a:ext cx="4863090" cy="1577386"/>
          </a:xfrm>
        </p:spPr>
        <p:txBody>
          <a:bodyPr vert="horz" anchor="b">
            <a:normAutofit/>
          </a:bodyPr>
          <a:lstStyle>
            <a:lvl1pPr algn="r">
              <a:defRPr sz="2600" b="0">
                <a:solidFill>
                  <a:schemeClr val="accent1"/>
                </a:solidFill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241" name="Espace réservé du texte 240">
            <a:extLst>
              <a:ext uri="{FF2B5EF4-FFF2-40B4-BE49-F238E27FC236}">
                <a16:creationId xmlns:a16="http://schemas.microsoft.com/office/drawing/2014/main" id="{1BF6E19B-49B1-4F2C-8AA0-7C2E84C406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08654" y="4719307"/>
            <a:ext cx="4863090" cy="409416"/>
          </a:xfrm>
        </p:spPr>
        <p:txBody>
          <a:bodyPr>
            <a:noAutofit/>
          </a:bodyPr>
          <a:lstStyle>
            <a:lvl1pPr algn="r">
              <a:spcBef>
                <a:spcPts val="600"/>
              </a:spcBef>
              <a:spcAft>
                <a:spcPts val="0"/>
              </a:spcAft>
              <a:defRPr sz="1800" b="0" cap="none" baseline="0"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defRPr sz="1600"/>
            </a:lvl2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2" name="Espace réservé du texte 240">
            <a:extLst>
              <a:ext uri="{FF2B5EF4-FFF2-40B4-BE49-F238E27FC236}">
                <a16:creationId xmlns:a16="http://schemas.microsoft.com/office/drawing/2014/main" id="{30B2D53C-1C97-45F3-BBBC-353E45F347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46728" y="6443569"/>
            <a:ext cx="920125" cy="169277"/>
          </a:xfrm>
        </p:spPr>
        <p:txBody>
          <a:bodyPr wrap="none" anchor="b"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100" b="0" cap="none" baseline="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algn="r">
              <a:spcBef>
                <a:spcPts val="0"/>
              </a:spcBef>
              <a:defRPr sz="1400"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</a:lstStyle>
          <a:p>
            <a:pPr lvl="0"/>
            <a:r>
              <a:rPr lang="fr-FR"/>
              <a:t>JJ / MM / 2018</a:t>
            </a:r>
          </a:p>
        </p:txBody>
      </p:sp>
      <p:sp>
        <p:nvSpPr>
          <p:cNvPr id="243" name="Espace réservé du texte 240">
            <a:extLst>
              <a:ext uri="{FF2B5EF4-FFF2-40B4-BE49-F238E27FC236}">
                <a16:creationId xmlns:a16="http://schemas.microsoft.com/office/drawing/2014/main" id="{76D3A943-5528-40B3-B4F0-277DC0A5B4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776983" y="6457680"/>
            <a:ext cx="1173398" cy="138499"/>
          </a:xfrm>
        </p:spPr>
        <p:txBody>
          <a:bodyPr wrap="none" anchor="b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900" b="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algn="l">
              <a:spcBef>
                <a:spcPts val="0"/>
              </a:spcBef>
              <a:defRPr sz="900" cap="all" baseline="0"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</a:lstStyle>
          <a:p>
            <a:pPr lvl="0"/>
            <a:r>
              <a:rPr lang="fr-FR"/>
              <a:t>Ref. xxxxxxx xxxx</a:t>
            </a:r>
          </a:p>
        </p:txBody>
      </p: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3B9B8E2B-D000-5536-D835-0C7AFF5C881E}"/>
              </a:ext>
            </a:extLst>
          </p:cNvPr>
          <p:cNvCxnSpPr/>
          <p:nvPr userDrawn="1"/>
        </p:nvCxnSpPr>
        <p:spPr>
          <a:xfrm flipV="1">
            <a:off x="10676474" y="4122000"/>
            <a:ext cx="0" cy="2736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83116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07CB1927-5AA5-4B6E-BF36-9ADD237568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140063" cy="6858000"/>
          </a:xfrm>
          <a:prstGeom prst="rect">
            <a:avLst/>
          </a:prstGeom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id="{535F21A3-59F1-48AA-9EDF-2456FBC385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/>
          </a:p>
        </p:txBody>
      </p:sp>
      <p:sp>
        <p:nvSpPr>
          <p:cNvPr id="56" name="Titre 234">
            <a:extLst>
              <a:ext uri="{FF2B5EF4-FFF2-40B4-BE49-F238E27FC236}">
                <a16:creationId xmlns:a16="http://schemas.microsoft.com/office/drawing/2014/main" id="{23B5F112-E19B-442C-A8FC-51D1EBEC8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9921" y="1685701"/>
            <a:ext cx="2192908" cy="387798"/>
          </a:xfrm>
        </p:spPr>
        <p:txBody>
          <a:bodyPr wrap="none">
            <a:spAutoFit/>
          </a:bodyPr>
          <a:lstStyle>
            <a:lvl1pPr algn="r">
              <a:defRPr sz="28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143" name="Espace réservé du texte 142">
            <a:extLst>
              <a:ext uri="{FF2B5EF4-FFF2-40B4-BE49-F238E27FC236}">
                <a16:creationId xmlns:a16="http://schemas.microsoft.com/office/drawing/2014/main" id="{DD98B7F4-6E5B-4D4C-9837-CDB8FAB06A8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618767" y="2358000"/>
            <a:ext cx="5077097" cy="4302826"/>
          </a:xfrm>
        </p:spPr>
        <p:txBody>
          <a:bodyPr>
            <a:normAutofit/>
          </a:bodyPr>
          <a:lstStyle>
            <a:lvl1pPr marL="277813" indent="-277813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 typeface="+mj-lt"/>
              <a:buAutoNum type="arabicPeriod"/>
              <a:defRPr sz="1400" b="0">
                <a:solidFill>
                  <a:schemeClr val="accent2"/>
                </a:solidFill>
                <a:latin typeface="+mj-lt"/>
              </a:defRPr>
            </a:lvl1pPr>
            <a:lvl2pPr>
              <a:defRPr sz="1100">
                <a:solidFill>
                  <a:schemeClr val="accent2"/>
                </a:solidFill>
                <a:latin typeface="+mj-lt"/>
              </a:defRPr>
            </a:lvl2pPr>
            <a:lvl3pPr>
              <a:defRPr sz="1100">
                <a:solidFill>
                  <a:schemeClr val="accent2"/>
                </a:solidFill>
                <a:latin typeface="+mj-lt"/>
              </a:defRPr>
            </a:lvl3pPr>
            <a:lvl4pPr>
              <a:defRPr sz="1000">
                <a:solidFill>
                  <a:schemeClr val="accent2"/>
                </a:solidFill>
                <a:latin typeface="+mj-lt"/>
              </a:defRPr>
            </a:lvl4pPr>
            <a:lvl5pPr>
              <a:defRPr sz="1000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7" name="Freeform 34">
            <a:extLst>
              <a:ext uri="{FF2B5EF4-FFF2-40B4-BE49-F238E27FC236}">
                <a16:creationId xmlns:a16="http://schemas.microsoft.com/office/drawing/2014/main" id="{5E1F2BAB-3777-490F-844E-72A59765DD17}"/>
              </a:ext>
            </a:extLst>
          </p:cNvPr>
          <p:cNvSpPr>
            <a:spLocks/>
          </p:cNvSpPr>
          <p:nvPr userDrawn="1"/>
        </p:nvSpPr>
        <p:spPr bwMode="auto">
          <a:xfrm>
            <a:off x="7584364" y="1100827"/>
            <a:ext cx="439414" cy="437790"/>
          </a:xfrm>
          <a:custGeom>
            <a:avLst/>
            <a:gdLst>
              <a:gd name="T0" fmla="*/ 1083 w 1083"/>
              <a:gd name="T1" fmla="*/ 1079 h 1079"/>
              <a:gd name="T2" fmla="*/ 1083 w 1083"/>
              <a:gd name="T3" fmla="*/ 0 h 1079"/>
              <a:gd name="T4" fmla="*/ 0 w 1083"/>
              <a:gd name="T5" fmla="*/ 0 h 1079"/>
              <a:gd name="T6" fmla="*/ 1083 w 1083"/>
              <a:gd name="T7" fmla="*/ 1079 h 10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83" h="1079">
                <a:moveTo>
                  <a:pt x="1083" y="1079"/>
                </a:moveTo>
                <a:lnTo>
                  <a:pt x="1083" y="0"/>
                </a:lnTo>
                <a:lnTo>
                  <a:pt x="0" y="0"/>
                </a:lnTo>
                <a:lnTo>
                  <a:pt x="1083" y="107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" name="Image 1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39ED5621-89FD-889F-0C75-752B784118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789" y="6074581"/>
            <a:ext cx="1545336" cy="586245"/>
          </a:xfrm>
          <a:prstGeom prst="rect">
            <a:avLst/>
          </a:prstGeom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70F2ADE3-0D0B-FD82-BC13-2FA4DB810305}"/>
              </a:ext>
            </a:extLst>
          </p:cNvPr>
          <p:cNvCxnSpPr>
            <a:cxnSpLocks/>
          </p:cNvCxnSpPr>
          <p:nvPr userDrawn="1"/>
        </p:nvCxnSpPr>
        <p:spPr>
          <a:xfrm flipV="1">
            <a:off x="6435900" y="2358000"/>
            <a:ext cx="0" cy="4500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oogle Shape;931;p1" descr="Résultat de recherche d'images pour &quot;rexel logo&quot;">
            <a:extLst>
              <a:ext uri="{FF2B5EF4-FFF2-40B4-BE49-F238E27FC236}">
                <a16:creationId xmlns:a16="http://schemas.microsoft.com/office/drawing/2014/main" id="{4F7D59EB-174B-AFD2-EBD8-CC9BDED6DB26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67" b="3267"/>
          <a:stretch/>
        </p:blipFill>
        <p:spPr>
          <a:xfrm>
            <a:off x="10524564" y="130638"/>
            <a:ext cx="1600033" cy="64088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108463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14D95567-6254-5E94-697F-B27D33914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3302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14D95567-6254-5E94-697F-B27D33914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4" name="Image 113">
            <a:extLst>
              <a:ext uri="{FF2B5EF4-FFF2-40B4-BE49-F238E27FC236}">
                <a16:creationId xmlns:a16="http://schemas.microsoft.com/office/drawing/2014/main" id="{98A08A3E-981E-4BCE-B1D8-47E1D1736C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375"/>
          <a:stretch/>
        </p:blipFill>
        <p:spPr>
          <a:xfrm>
            <a:off x="0" y="0"/>
            <a:ext cx="7134532" cy="6858000"/>
          </a:xfrm>
          <a:prstGeom prst="rect">
            <a:avLst/>
          </a:prstGeom>
        </p:spPr>
      </p:pic>
      <p:sp>
        <p:nvSpPr>
          <p:cNvPr id="56" name="Titre 234">
            <a:extLst>
              <a:ext uri="{FF2B5EF4-FFF2-40B4-BE49-F238E27FC236}">
                <a16:creationId xmlns:a16="http://schemas.microsoft.com/office/drawing/2014/main" id="{23B5F112-E19B-442C-A8FC-51D1EBEC8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2" y="2276680"/>
            <a:ext cx="5940850" cy="1952420"/>
          </a:xfrm>
        </p:spPr>
        <p:txBody>
          <a:bodyPr vert="horz" anchor="t">
            <a:normAutofit/>
          </a:bodyPr>
          <a:lstStyle>
            <a:lvl1pPr marL="514350" indent="-514350" algn="r">
              <a:buClr>
                <a:schemeClr val="accent3"/>
              </a:buClr>
              <a:buFont typeface="+mj-lt"/>
              <a:buAutoNum type="arabicPeriod"/>
              <a:defRPr sz="28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43" name="Espace réservé du texte 142">
            <a:extLst>
              <a:ext uri="{FF2B5EF4-FFF2-40B4-BE49-F238E27FC236}">
                <a16:creationId xmlns:a16="http://schemas.microsoft.com/office/drawing/2014/main" id="{DD98B7F4-6E5B-4D4C-9837-CDB8FAB06A8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911601" y="4337057"/>
            <a:ext cx="6918749" cy="1690363"/>
          </a:xfrm>
        </p:spPr>
        <p:txBody>
          <a:bodyPr>
            <a:noAutofit/>
          </a:bodyPr>
          <a:lstStyle>
            <a:lvl1pPr marL="0" indent="0" algn="r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Font typeface="+mj-lt"/>
              <a:buNone/>
              <a:defRPr sz="1600" b="1">
                <a:solidFill>
                  <a:schemeClr val="accent2"/>
                </a:solidFill>
                <a:latin typeface="+mn-lt"/>
              </a:defRPr>
            </a:lvl1pPr>
            <a:lvl2pPr>
              <a:defRPr sz="1100">
                <a:solidFill>
                  <a:schemeClr val="accent2"/>
                </a:solidFill>
                <a:latin typeface="+mj-lt"/>
              </a:defRPr>
            </a:lvl2pPr>
            <a:lvl3pPr>
              <a:defRPr sz="1100">
                <a:solidFill>
                  <a:schemeClr val="accent2"/>
                </a:solidFill>
                <a:latin typeface="+mj-lt"/>
              </a:defRPr>
            </a:lvl3pPr>
            <a:lvl4pPr>
              <a:defRPr sz="1000">
                <a:solidFill>
                  <a:schemeClr val="accent2"/>
                </a:solidFill>
                <a:latin typeface="+mj-lt"/>
              </a:defRPr>
            </a:lvl4pPr>
            <a:lvl5pPr>
              <a:defRPr sz="1000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04" name="Freeform 34">
            <a:extLst>
              <a:ext uri="{FF2B5EF4-FFF2-40B4-BE49-F238E27FC236}">
                <a16:creationId xmlns:a16="http://schemas.microsoft.com/office/drawing/2014/main" id="{00D566A9-D682-4573-984F-A773BA9A5C39}"/>
              </a:ext>
            </a:extLst>
          </p:cNvPr>
          <p:cNvSpPr>
            <a:spLocks/>
          </p:cNvSpPr>
          <p:nvPr userDrawn="1"/>
        </p:nvSpPr>
        <p:spPr bwMode="auto">
          <a:xfrm>
            <a:off x="10384714" y="1722701"/>
            <a:ext cx="439414" cy="437790"/>
          </a:xfrm>
          <a:custGeom>
            <a:avLst/>
            <a:gdLst>
              <a:gd name="T0" fmla="*/ 1083 w 1083"/>
              <a:gd name="T1" fmla="*/ 1079 h 1079"/>
              <a:gd name="T2" fmla="*/ 1083 w 1083"/>
              <a:gd name="T3" fmla="*/ 0 h 1079"/>
              <a:gd name="T4" fmla="*/ 0 w 1083"/>
              <a:gd name="T5" fmla="*/ 0 h 1079"/>
              <a:gd name="T6" fmla="*/ 1083 w 1083"/>
              <a:gd name="T7" fmla="*/ 1079 h 10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83" h="1079">
                <a:moveTo>
                  <a:pt x="1083" y="1079"/>
                </a:moveTo>
                <a:lnTo>
                  <a:pt x="1083" y="0"/>
                </a:lnTo>
                <a:lnTo>
                  <a:pt x="0" y="0"/>
                </a:lnTo>
                <a:lnTo>
                  <a:pt x="1083" y="107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" name="Image 1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BF2FB040-EF53-CE7F-053D-B55455D81C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789" y="6074581"/>
            <a:ext cx="1545336" cy="586245"/>
          </a:xfrm>
          <a:prstGeom prst="rect">
            <a:avLst/>
          </a:prstGeom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3200438B-F310-1BFB-D740-B643A7413EEA}"/>
              </a:ext>
            </a:extLst>
          </p:cNvPr>
          <p:cNvCxnSpPr>
            <a:cxnSpLocks/>
          </p:cNvCxnSpPr>
          <p:nvPr userDrawn="1"/>
        </p:nvCxnSpPr>
        <p:spPr>
          <a:xfrm flipV="1">
            <a:off x="10967242" y="2901898"/>
            <a:ext cx="0" cy="395610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oogle Shape;931;p1" descr="Résultat de recherche d'images pour &quot;rexel logo&quot;">
            <a:extLst>
              <a:ext uri="{FF2B5EF4-FFF2-40B4-BE49-F238E27FC236}">
                <a16:creationId xmlns:a16="http://schemas.microsoft.com/office/drawing/2014/main" id="{BDBDE36F-09C9-CB58-AA42-578AE0C12AC0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67" b="3267"/>
          <a:stretch/>
        </p:blipFill>
        <p:spPr>
          <a:xfrm>
            <a:off x="10524564" y="130638"/>
            <a:ext cx="1600033" cy="64088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50465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CEA5648-BC6F-49DB-A620-884FAD26E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08775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AD5A1A1-4454-4270-AFC2-3199508102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03338" y="1519200"/>
            <a:ext cx="10170000" cy="1433726"/>
          </a:xfrm>
        </p:spPr>
        <p:txBody>
          <a:bodyPr/>
          <a:lstStyle>
            <a:lvl3pPr marL="177800" indent="-177800">
              <a:buFontTx/>
              <a:buBlip>
                <a:blip r:embed="rId2"/>
              </a:buBlip>
              <a:defRPr/>
            </a:lvl3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F3C6C22-6F5C-40F1-BC9F-27EC5F291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500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7D6A1280-F7E3-42A8-A446-2C0375CFBA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03338" y="1519200"/>
            <a:ext cx="4843462" cy="4541875"/>
          </a:xfrm>
        </p:spPr>
        <p:txBody>
          <a:bodyPr>
            <a:noAutofit/>
          </a:bodyPr>
          <a:lstStyle>
            <a:lvl3pPr marL="166688" indent="-166688">
              <a:buSzPct val="90000"/>
              <a:buFontTx/>
              <a:buBlip>
                <a:blip r:embed="rId2"/>
              </a:buBlip>
              <a:defRPr/>
            </a:lvl3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texte 5">
            <a:extLst>
              <a:ext uri="{FF2B5EF4-FFF2-40B4-BE49-F238E27FC236}">
                <a16:creationId xmlns:a16="http://schemas.microsoft.com/office/drawing/2014/main" id="{09BF56A6-39B8-4EC1-ADB9-1AE91152CF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7813" y="1519200"/>
            <a:ext cx="4843462" cy="4541875"/>
          </a:xfrm>
        </p:spPr>
        <p:txBody>
          <a:bodyPr>
            <a:noAutofit/>
          </a:bodyPr>
          <a:lstStyle>
            <a:lvl3pPr marL="166688" indent="-166688">
              <a:buSzPct val="90000"/>
              <a:buFontTx/>
              <a:buBlip>
                <a:blip r:embed="rId2"/>
              </a:buBlip>
              <a:defRPr/>
            </a:lvl3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C4ABD78-C8A9-4907-B497-83E0B02F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44060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Diag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ZoneTexte 189">
            <a:hlinkClick r:id="rId2"/>
            <a:extLst>
              <a:ext uri="{FF2B5EF4-FFF2-40B4-BE49-F238E27FC236}">
                <a16:creationId xmlns:a16="http://schemas.microsoft.com/office/drawing/2014/main" id="{CDA3B668-1BBA-477B-B4B0-C8D1B3316722}"/>
              </a:ext>
            </a:extLst>
          </p:cNvPr>
          <p:cNvSpPr txBox="1"/>
          <p:nvPr userDrawn="1"/>
        </p:nvSpPr>
        <p:spPr>
          <a:xfrm>
            <a:off x="3638550" y="5912658"/>
            <a:ext cx="1086633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endParaRPr lang="fr-FR" sz="1000">
              <a:solidFill>
                <a:schemeClr val="accent2"/>
              </a:solidFill>
            </a:endParaRPr>
          </a:p>
        </p:txBody>
      </p:sp>
      <p:sp>
        <p:nvSpPr>
          <p:cNvPr id="192" name="ZoneTexte 191">
            <a:hlinkClick r:id="rId3"/>
            <a:extLst>
              <a:ext uri="{FF2B5EF4-FFF2-40B4-BE49-F238E27FC236}">
                <a16:creationId xmlns:a16="http://schemas.microsoft.com/office/drawing/2014/main" id="{49BF1809-F8B9-473F-90C1-504E9998C6A1}"/>
              </a:ext>
            </a:extLst>
          </p:cNvPr>
          <p:cNvSpPr txBox="1"/>
          <p:nvPr userDrawn="1"/>
        </p:nvSpPr>
        <p:spPr>
          <a:xfrm>
            <a:off x="3348038" y="5758770"/>
            <a:ext cx="1377145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r"/>
            <a:endParaRPr lang="fr-FR" sz="1000">
              <a:solidFill>
                <a:schemeClr val="accent2"/>
              </a:solidFill>
            </a:endParaRPr>
          </a:p>
        </p:txBody>
      </p:sp>
      <p:grpSp>
        <p:nvGrpSpPr>
          <p:cNvPr id="193" name="Groupe 192">
            <a:extLst>
              <a:ext uri="{FF2B5EF4-FFF2-40B4-BE49-F238E27FC236}">
                <a16:creationId xmlns:a16="http://schemas.microsoft.com/office/drawing/2014/main" id="{422AFC3A-838C-4B93-A058-79C10510689F}"/>
              </a:ext>
            </a:extLst>
          </p:cNvPr>
          <p:cNvGrpSpPr/>
          <p:nvPr userDrawn="1"/>
        </p:nvGrpSpPr>
        <p:grpSpPr>
          <a:xfrm>
            <a:off x="9508859" y="162000"/>
            <a:ext cx="2521141" cy="1981125"/>
            <a:chOff x="10186247" y="160944"/>
            <a:chExt cx="1839407" cy="1445415"/>
          </a:xfrm>
        </p:grpSpPr>
        <p:grpSp>
          <p:nvGrpSpPr>
            <p:cNvPr id="194" name="Groupe 193">
              <a:extLst>
                <a:ext uri="{FF2B5EF4-FFF2-40B4-BE49-F238E27FC236}">
                  <a16:creationId xmlns:a16="http://schemas.microsoft.com/office/drawing/2014/main" id="{1348B225-94E6-495C-B882-3BA3A9AA2FC3}"/>
                </a:ext>
              </a:extLst>
            </p:cNvPr>
            <p:cNvGrpSpPr/>
            <p:nvPr userDrawn="1"/>
          </p:nvGrpSpPr>
          <p:grpSpPr>
            <a:xfrm>
              <a:off x="10186247" y="594769"/>
              <a:ext cx="1839407" cy="1011590"/>
              <a:chOff x="10186247" y="594769"/>
              <a:chExt cx="1839407" cy="1011590"/>
            </a:xfrm>
            <a:solidFill>
              <a:srgbClr val="C7D1DB"/>
            </a:solidFill>
          </p:grpSpPr>
          <p:sp>
            <p:nvSpPr>
              <p:cNvPr id="196" name="Freeform 5">
                <a:extLst>
                  <a:ext uri="{FF2B5EF4-FFF2-40B4-BE49-F238E27FC236}">
                    <a16:creationId xmlns:a16="http://schemas.microsoft.com/office/drawing/2014/main" id="{0ACB7AAE-D4B0-47A4-ACD7-F52D5412F7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86247" y="594769"/>
                <a:ext cx="271476" cy="288213"/>
              </a:xfrm>
              <a:custGeom>
                <a:avLst/>
                <a:gdLst>
                  <a:gd name="T0" fmla="*/ 420 w 838"/>
                  <a:gd name="T1" fmla="*/ 744 h 893"/>
                  <a:gd name="T2" fmla="*/ 248 w 838"/>
                  <a:gd name="T3" fmla="*/ 668 h 893"/>
                  <a:gd name="T4" fmla="*/ 180 w 838"/>
                  <a:gd name="T5" fmla="*/ 446 h 893"/>
                  <a:gd name="T6" fmla="*/ 246 w 838"/>
                  <a:gd name="T7" fmla="*/ 223 h 893"/>
                  <a:gd name="T8" fmla="*/ 420 w 838"/>
                  <a:gd name="T9" fmla="*/ 149 h 893"/>
                  <a:gd name="T10" fmla="*/ 593 w 838"/>
                  <a:gd name="T11" fmla="*/ 222 h 893"/>
                  <a:gd name="T12" fmla="*/ 658 w 838"/>
                  <a:gd name="T13" fmla="*/ 443 h 893"/>
                  <a:gd name="T14" fmla="*/ 591 w 838"/>
                  <a:gd name="T15" fmla="*/ 669 h 893"/>
                  <a:gd name="T16" fmla="*/ 420 w 838"/>
                  <a:gd name="T17" fmla="*/ 744 h 893"/>
                  <a:gd name="T18" fmla="*/ 418 w 838"/>
                  <a:gd name="T19" fmla="*/ 0 h 893"/>
                  <a:gd name="T20" fmla="*/ 232 w 838"/>
                  <a:gd name="T21" fmla="*/ 34 h 893"/>
                  <a:gd name="T22" fmla="*/ 120 w 838"/>
                  <a:gd name="T23" fmla="*/ 112 h 893"/>
                  <a:gd name="T24" fmla="*/ 40 w 838"/>
                  <a:gd name="T25" fmla="*/ 230 h 893"/>
                  <a:gd name="T26" fmla="*/ 0 w 838"/>
                  <a:gd name="T27" fmla="*/ 452 h 893"/>
                  <a:gd name="T28" fmla="*/ 114 w 838"/>
                  <a:gd name="T29" fmla="*/ 775 h 893"/>
                  <a:gd name="T30" fmla="*/ 420 w 838"/>
                  <a:gd name="T31" fmla="*/ 893 h 893"/>
                  <a:gd name="T32" fmla="*/ 724 w 838"/>
                  <a:gd name="T33" fmla="*/ 775 h 893"/>
                  <a:gd name="T34" fmla="*/ 838 w 838"/>
                  <a:gd name="T35" fmla="*/ 448 h 893"/>
                  <a:gd name="T36" fmla="*/ 723 w 838"/>
                  <a:gd name="T37" fmla="*/ 118 h 893"/>
                  <a:gd name="T38" fmla="*/ 418 w 838"/>
                  <a:gd name="T39" fmla="*/ 0 h 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38" h="893">
                    <a:moveTo>
                      <a:pt x="420" y="744"/>
                    </a:moveTo>
                    <a:cubicBezTo>
                      <a:pt x="350" y="744"/>
                      <a:pt x="293" y="719"/>
                      <a:pt x="248" y="668"/>
                    </a:cubicBezTo>
                    <a:cubicBezTo>
                      <a:pt x="203" y="618"/>
                      <a:pt x="180" y="544"/>
                      <a:pt x="180" y="446"/>
                    </a:cubicBezTo>
                    <a:cubicBezTo>
                      <a:pt x="180" y="346"/>
                      <a:pt x="202" y="272"/>
                      <a:pt x="246" y="223"/>
                    </a:cubicBezTo>
                    <a:cubicBezTo>
                      <a:pt x="290" y="174"/>
                      <a:pt x="348" y="149"/>
                      <a:pt x="420" y="149"/>
                    </a:cubicBezTo>
                    <a:cubicBezTo>
                      <a:pt x="492" y="149"/>
                      <a:pt x="549" y="173"/>
                      <a:pt x="593" y="222"/>
                    </a:cubicBezTo>
                    <a:cubicBezTo>
                      <a:pt x="636" y="271"/>
                      <a:pt x="658" y="344"/>
                      <a:pt x="658" y="443"/>
                    </a:cubicBezTo>
                    <a:cubicBezTo>
                      <a:pt x="658" y="544"/>
                      <a:pt x="635" y="619"/>
                      <a:pt x="591" y="669"/>
                    </a:cubicBezTo>
                    <a:cubicBezTo>
                      <a:pt x="546" y="719"/>
                      <a:pt x="489" y="744"/>
                      <a:pt x="420" y="744"/>
                    </a:cubicBezTo>
                    <a:moveTo>
                      <a:pt x="418" y="0"/>
                    </a:moveTo>
                    <a:cubicBezTo>
                      <a:pt x="348" y="0"/>
                      <a:pt x="286" y="11"/>
                      <a:pt x="232" y="34"/>
                    </a:cubicBezTo>
                    <a:cubicBezTo>
                      <a:pt x="191" y="51"/>
                      <a:pt x="154" y="77"/>
                      <a:pt x="120" y="112"/>
                    </a:cubicBezTo>
                    <a:cubicBezTo>
                      <a:pt x="86" y="147"/>
                      <a:pt x="60" y="186"/>
                      <a:pt x="40" y="230"/>
                    </a:cubicBezTo>
                    <a:cubicBezTo>
                      <a:pt x="14" y="290"/>
                      <a:pt x="0" y="364"/>
                      <a:pt x="0" y="452"/>
                    </a:cubicBezTo>
                    <a:cubicBezTo>
                      <a:pt x="0" y="589"/>
                      <a:pt x="38" y="697"/>
                      <a:pt x="114" y="775"/>
                    </a:cubicBezTo>
                    <a:cubicBezTo>
                      <a:pt x="190" y="854"/>
                      <a:pt x="292" y="893"/>
                      <a:pt x="420" y="893"/>
                    </a:cubicBezTo>
                    <a:cubicBezTo>
                      <a:pt x="547" y="893"/>
                      <a:pt x="649" y="853"/>
                      <a:pt x="724" y="775"/>
                    </a:cubicBezTo>
                    <a:cubicBezTo>
                      <a:pt x="800" y="696"/>
                      <a:pt x="838" y="587"/>
                      <a:pt x="838" y="448"/>
                    </a:cubicBezTo>
                    <a:cubicBezTo>
                      <a:pt x="838" y="307"/>
                      <a:pt x="800" y="197"/>
                      <a:pt x="723" y="118"/>
                    </a:cubicBezTo>
                    <a:cubicBezTo>
                      <a:pt x="647" y="39"/>
                      <a:pt x="545" y="0"/>
                      <a:pt x="41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7" name="Freeform 6">
                <a:extLst>
                  <a:ext uri="{FF2B5EF4-FFF2-40B4-BE49-F238E27FC236}">
                    <a16:creationId xmlns:a16="http://schemas.microsoft.com/office/drawing/2014/main" id="{64E0AC29-F068-4F3A-AC15-06954BF563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96553" y="599790"/>
                <a:ext cx="214570" cy="278505"/>
              </a:xfrm>
              <a:custGeom>
                <a:avLst/>
                <a:gdLst>
                  <a:gd name="T0" fmla="*/ 175 w 662"/>
                  <a:gd name="T1" fmla="*/ 391 h 863"/>
                  <a:gd name="T2" fmla="*/ 175 w 662"/>
                  <a:gd name="T3" fmla="*/ 146 h 863"/>
                  <a:gd name="T4" fmla="*/ 259 w 662"/>
                  <a:gd name="T5" fmla="*/ 146 h 863"/>
                  <a:gd name="T6" fmla="*/ 384 w 662"/>
                  <a:gd name="T7" fmla="*/ 152 h 863"/>
                  <a:gd name="T8" fmla="*/ 454 w 662"/>
                  <a:gd name="T9" fmla="*/ 190 h 863"/>
                  <a:gd name="T10" fmla="*/ 482 w 662"/>
                  <a:gd name="T11" fmla="*/ 268 h 863"/>
                  <a:gd name="T12" fmla="*/ 462 w 662"/>
                  <a:gd name="T13" fmla="*/ 335 h 863"/>
                  <a:gd name="T14" fmla="*/ 408 w 662"/>
                  <a:gd name="T15" fmla="*/ 377 h 863"/>
                  <a:gd name="T16" fmla="*/ 270 w 662"/>
                  <a:gd name="T17" fmla="*/ 391 h 863"/>
                  <a:gd name="T18" fmla="*/ 175 w 662"/>
                  <a:gd name="T19" fmla="*/ 391 h 863"/>
                  <a:gd name="T20" fmla="*/ 280 w 662"/>
                  <a:gd name="T21" fmla="*/ 0 h 863"/>
                  <a:gd name="T22" fmla="*/ 0 w 662"/>
                  <a:gd name="T23" fmla="*/ 0 h 863"/>
                  <a:gd name="T24" fmla="*/ 0 w 662"/>
                  <a:gd name="T25" fmla="*/ 863 h 863"/>
                  <a:gd name="T26" fmla="*/ 175 w 662"/>
                  <a:gd name="T27" fmla="*/ 863 h 863"/>
                  <a:gd name="T28" fmla="*/ 175 w 662"/>
                  <a:gd name="T29" fmla="*/ 537 h 863"/>
                  <a:gd name="T30" fmla="*/ 288 w 662"/>
                  <a:gd name="T31" fmla="*/ 537 h 863"/>
                  <a:gd name="T32" fmla="*/ 469 w 662"/>
                  <a:gd name="T33" fmla="*/ 525 h 863"/>
                  <a:gd name="T34" fmla="*/ 559 w 662"/>
                  <a:gd name="T35" fmla="*/ 484 h 863"/>
                  <a:gd name="T36" fmla="*/ 633 w 662"/>
                  <a:gd name="T37" fmla="*/ 399 h 863"/>
                  <a:gd name="T38" fmla="*/ 662 w 662"/>
                  <a:gd name="T39" fmla="*/ 265 h 863"/>
                  <a:gd name="T40" fmla="*/ 612 w 662"/>
                  <a:gd name="T41" fmla="*/ 97 h 863"/>
                  <a:gd name="T42" fmla="*/ 487 w 662"/>
                  <a:gd name="T43" fmla="*/ 13 h 863"/>
                  <a:gd name="T44" fmla="*/ 280 w 662"/>
                  <a:gd name="T45" fmla="*/ 0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2" h="863">
                    <a:moveTo>
                      <a:pt x="175" y="391"/>
                    </a:moveTo>
                    <a:cubicBezTo>
                      <a:pt x="175" y="146"/>
                      <a:pt x="175" y="146"/>
                      <a:pt x="175" y="146"/>
                    </a:cubicBezTo>
                    <a:cubicBezTo>
                      <a:pt x="259" y="146"/>
                      <a:pt x="259" y="146"/>
                      <a:pt x="259" y="146"/>
                    </a:cubicBezTo>
                    <a:cubicBezTo>
                      <a:pt x="322" y="146"/>
                      <a:pt x="363" y="148"/>
                      <a:pt x="384" y="152"/>
                    </a:cubicBezTo>
                    <a:cubicBezTo>
                      <a:pt x="412" y="157"/>
                      <a:pt x="436" y="169"/>
                      <a:pt x="454" y="190"/>
                    </a:cubicBezTo>
                    <a:cubicBezTo>
                      <a:pt x="473" y="210"/>
                      <a:pt x="482" y="236"/>
                      <a:pt x="482" y="268"/>
                    </a:cubicBezTo>
                    <a:cubicBezTo>
                      <a:pt x="482" y="293"/>
                      <a:pt x="475" y="316"/>
                      <a:pt x="462" y="335"/>
                    </a:cubicBezTo>
                    <a:cubicBezTo>
                      <a:pt x="449" y="354"/>
                      <a:pt x="431" y="368"/>
                      <a:pt x="408" y="377"/>
                    </a:cubicBezTo>
                    <a:cubicBezTo>
                      <a:pt x="385" y="386"/>
                      <a:pt x="339" y="391"/>
                      <a:pt x="270" y="391"/>
                    </a:cubicBezTo>
                    <a:cubicBezTo>
                      <a:pt x="175" y="391"/>
                      <a:pt x="175" y="391"/>
                      <a:pt x="175" y="391"/>
                    </a:cubicBezTo>
                    <a:moveTo>
                      <a:pt x="28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63"/>
                      <a:pt x="0" y="863"/>
                      <a:pt x="0" y="863"/>
                    </a:cubicBezTo>
                    <a:cubicBezTo>
                      <a:pt x="175" y="863"/>
                      <a:pt x="175" y="863"/>
                      <a:pt x="175" y="863"/>
                    </a:cubicBezTo>
                    <a:cubicBezTo>
                      <a:pt x="175" y="537"/>
                      <a:pt x="175" y="537"/>
                      <a:pt x="175" y="537"/>
                    </a:cubicBezTo>
                    <a:cubicBezTo>
                      <a:pt x="288" y="537"/>
                      <a:pt x="288" y="537"/>
                      <a:pt x="288" y="537"/>
                    </a:cubicBezTo>
                    <a:cubicBezTo>
                      <a:pt x="367" y="537"/>
                      <a:pt x="427" y="533"/>
                      <a:pt x="469" y="525"/>
                    </a:cubicBezTo>
                    <a:cubicBezTo>
                      <a:pt x="500" y="518"/>
                      <a:pt x="530" y="505"/>
                      <a:pt x="559" y="484"/>
                    </a:cubicBezTo>
                    <a:cubicBezTo>
                      <a:pt x="589" y="463"/>
                      <a:pt x="614" y="435"/>
                      <a:pt x="633" y="399"/>
                    </a:cubicBezTo>
                    <a:cubicBezTo>
                      <a:pt x="652" y="363"/>
                      <a:pt x="662" y="318"/>
                      <a:pt x="662" y="265"/>
                    </a:cubicBezTo>
                    <a:cubicBezTo>
                      <a:pt x="662" y="197"/>
                      <a:pt x="645" y="140"/>
                      <a:pt x="612" y="97"/>
                    </a:cubicBezTo>
                    <a:cubicBezTo>
                      <a:pt x="578" y="54"/>
                      <a:pt x="537" y="26"/>
                      <a:pt x="487" y="13"/>
                    </a:cubicBezTo>
                    <a:cubicBezTo>
                      <a:pt x="455" y="4"/>
                      <a:pt x="386" y="0"/>
                      <a:pt x="28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8" name="Freeform 7">
                <a:extLst>
                  <a:ext uri="{FF2B5EF4-FFF2-40B4-BE49-F238E27FC236}">
                    <a16:creationId xmlns:a16="http://schemas.microsoft.com/office/drawing/2014/main" id="{635F9EF0-231D-47C6-9CA0-B8A066CA49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6143" y="599790"/>
                <a:ext cx="222269" cy="278505"/>
              </a:xfrm>
              <a:custGeom>
                <a:avLst/>
                <a:gdLst>
                  <a:gd name="T0" fmla="*/ 664 w 664"/>
                  <a:gd name="T1" fmla="*/ 0 h 832"/>
                  <a:gd name="T2" fmla="*/ 0 w 664"/>
                  <a:gd name="T3" fmla="*/ 0 h 832"/>
                  <a:gd name="T4" fmla="*/ 0 w 664"/>
                  <a:gd name="T5" fmla="*/ 140 h 832"/>
                  <a:gd name="T6" fmla="*/ 248 w 664"/>
                  <a:gd name="T7" fmla="*/ 140 h 832"/>
                  <a:gd name="T8" fmla="*/ 248 w 664"/>
                  <a:gd name="T9" fmla="*/ 832 h 832"/>
                  <a:gd name="T10" fmla="*/ 416 w 664"/>
                  <a:gd name="T11" fmla="*/ 832 h 832"/>
                  <a:gd name="T12" fmla="*/ 416 w 664"/>
                  <a:gd name="T13" fmla="*/ 140 h 832"/>
                  <a:gd name="T14" fmla="*/ 664 w 664"/>
                  <a:gd name="T15" fmla="*/ 140 h 832"/>
                  <a:gd name="T16" fmla="*/ 664 w 664"/>
                  <a:gd name="T1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4" h="832">
                    <a:moveTo>
                      <a:pt x="664" y="0"/>
                    </a:moveTo>
                    <a:lnTo>
                      <a:pt x="0" y="0"/>
                    </a:lnTo>
                    <a:lnTo>
                      <a:pt x="0" y="140"/>
                    </a:lnTo>
                    <a:lnTo>
                      <a:pt x="248" y="140"/>
                    </a:lnTo>
                    <a:lnTo>
                      <a:pt x="248" y="832"/>
                    </a:lnTo>
                    <a:lnTo>
                      <a:pt x="416" y="832"/>
                    </a:lnTo>
                    <a:lnTo>
                      <a:pt x="416" y="140"/>
                    </a:lnTo>
                    <a:lnTo>
                      <a:pt x="664" y="140"/>
                    </a:lnTo>
                    <a:lnTo>
                      <a:pt x="66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9" name="Freeform 8">
                <a:extLst>
                  <a:ext uri="{FF2B5EF4-FFF2-40B4-BE49-F238E27FC236}">
                    <a16:creationId xmlns:a16="http://schemas.microsoft.com/office/drawing/2014/main" id="{B761E824-9BD4-4B1A-9478-8C166FE4D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6143" y="599790"/>
                <a:ext cx="222269" cy="278505"/>
              </a:xfrm>
              <a:custGeom>
                <a:avLst/>
                <a:gdLst>
                  <a:gd name="T0" fmla="*/ 664 w 664"/>
                  <a:gd name="T1" fmla="*/ 0 h 832"/>
                  <a:gd name="T2" fmla="*/ 0 w 664"/>
                  <a:gd name="T3" fmla="*/ 0 h 832"/>
                  <a:gd name="T4" fmla="*/ 0 w 664"/>
                  <a:gd name="T5" fmla="*/ 140 h 832"/>
                  <a:gd name="T6" fmla="*/ 248 w 664"/>
                  <a:gd name="T7" fmla="*/ 140 h 832"/>
                  <a:gd name="T8" fmla="*/ 248 w 664"/>
                  <a:gd name="T9" fmla="*/ 832 h 832"/>
                  <a:gd name="T10" fmla="*/ 416 w 664"/>
                  <a:gd name="T11" fmla="*/ 832 h 832"/>
                  <a:gd name="T12" fmla="*/ 416 w 664"/>
                  <a:gd name="T13" fmla="*/ 140 h 832"/>
                  <a:gd name="T14" fmla="*/ 664 w 664"/>
                  <a:gd name="T15" fmla="*/ 140 h 832"/>
                  <a:gd name="T16" fmla="*/ 664 w 664"/>
                  <a:gd name="T1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4" h="832">
                    <a:moveTo>
                      <a:pt x="664" y="0"/>
                    </a:moveTo>
                    <a:lnTo>
                      <a:pt x="0" y="0"/>
                    </a:lnTo>
                    <a:lnTo>
                      <a:pt x="0" y="140"/>
                    </a:lnTo>
                    <a:lnTo>
                      <a:pt x="248" y="140"/>
                    </a:lnTo>
                    <a:lnTo>
                      <a:pt x="248" y="832"/>
                    </a:lnTo>
                    <a:lnTo>
                      <a:pt x="416" y="832"/>
                    </a:lnTo>
                    <a:lnTo>
                      <a:pt x="416" y="140"/>
                    </a:lnTo>
                    <a:lnTo>
                      <a:pt x="664" y="140"/>
                    </a:lnTo>
                    <a:lnTo>
                      <a:pt x="66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0" name="Rectangle 9">
                <a:extLst>
                  <a:ext uri="{FF2B5EF4-FFF2-40B4-BE49-F238E27FC236}">
                    <a16:creationId xmlns:a16="http://schemas.microsoft.com/office/drawing/2014/main" id="{6E6066A2-3CB1-41D5-8F6F-F86E522F10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74564" y="599790"/>
                <a:ext cx="56237" cy="27850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1" name="Freeform 11">
                <a:extLst>
                  <a:ext uri="{FF2B5EF4-FFF2-40B4-BE49-F238E27FC236}">
                    <a16:creationId xmlns:a16="http://schemas.microsoft.com/office/drawing/2014/main" id="{9C557930-DB4D-4B40-8F9C-8FFA21AE3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1097" y="599790"/>
                <a:ext cx="270472" cy="278505"/>
              </a:xfrm>
              <a:custGeom>
                <a:avLst/>
                <a:gdLst>
                  <a:gd name="T0" fmla="*/ 808 w 808"/>
                  <a:gd name="T1" fmla="*/ 0 h 832"/>
                  <a:gd name="T2" fmla="*/ 555 w 808"/>
                  <a:gd name="T3" fmla="*/ 0 h 832"/>
                  <a:gd name="T4" fmla="*/ 405 w 808"/>
                  <a:gd name="T5" fmla="*/ 568 h 832"/>
                  <a:gd name="T6" fmla="*/ 253 w 808"/>
                  <a:gd name="T7" fmla="*/ 0 h 832"/>
                  <a:gd name="T8" fmla="*/ 0 w 808"/>
                  <a:gd name="T9" fmla="*/ 0 h 832"/>
                  <a:gd name="T10" fmla="*/ 0 w 808"/>
                  <a:gd name="T11" fmla="*/ 832 h 832"/>
                  <a:gd name="T12" fmla="*/ 157 w 808"/>
                  <a:gd name="T13" fmla="*/ 832 h 832"/>
                  <a:gd name="T14" fmla="*/ 157 w 808"/>
                  <a:gd name="T15" fmla="*/ 176 h 832"/>
                  <a:gd name="T16" fmla="*/ 323 w 808"/>
                  <a:gd name="T17" fmla="*/ 832 h 832"/>
                  <a:gd name="T18" fmla="*/ 486 w 808"/>
                  <a:gd name="T19" fmla="*/ 832 h 832"/>
                  <a:gd name="T20" fmla="*/ 651 w 808"/>
                  <a:gd name="T21" fmla="*/ 176 h 832"/>
                  <a:gd name="T22" fmla="*/ 651 w 808"/>
                  <a:gd name="T23" fmla="*/ 832 h 832"/>
                  <a:gd name="T24" fmla="*/ 808 w 808"/>
                  <a:gd name="T25" fmla="*/ 832 h 832"/>
                  <a:gd name="T26" fmla="*/ 808 w 808"/>
                  <a:gd name="T2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08" h="832">
                    <a:moveTo>
                      <a:pt x="808" y="0"/>
                    </a:moveTo>
                    <a:lnTo>
                      <a:pt x="555" y="0"/>
                    </a:lnTo>
                    <a:lnTo>
                      <a:pt x="405" y="568"/>
                    </a:lnTo>
                    <a:lnTo>
                      <a:pt x="253" y="0"/>
                    </a:lnTo>
                    <a:lnTo>
                      <a:pt x="0" y="0"/>
                    </a:lnTo>
                    <a:lnTo>
                      <a:pt x="0" y="832"/>
                    </a:lnTo>
                    <a:lnTo>
                      <a:pt x="157" y="832"/>
                    </a:lnTo>
                    <a:lnTo>
                      <a:pt x="157" y="176"/>
                    </a:lnTo>
                    <a:lnTo>
                      <a:pt x="323" y="832"/>
                    </a:lnTo>
                    <a:lnTo>
                      <a:pt x="486" y="832"/>
                    </a:lnTo>
                    <a:lnTo>
                      <a:pt x="651" y="176"/>
                    </a:lnTo>
                    <a:lnTo>
                      <a:pt x="651" y="832"/>
                    </a:lnTo>
                    <a:lnTo>
                      <a:pt x="808" y="832"/>
                    </a:lnTo>
                    <a:lnTo>
                      <a:pt x="80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2" name="Freeform 12">
                <a:extLst>
                  <a:ext uri="{FF2B5EF4-FFF2-40B4-BE49-F238E27FC236}">
                    <a16:creationId xmlns:a16="http://schemas.microsoft.com/office/drawing/2014/main" id="{CDA97F98-46FC-4D87-9403-47141AD08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1097" y="599790"/>
                <a:ext cx="270472" cy="278505"/>
              </a:xfrm>
              <a:custGeom>
                <a:avLst/>
                <a:gdLst>
                  <a:gd name="T0" fmla="*/ 808 w 808"/>
                  <a:gd name="T1" fmla="*/ 0 h 832"/>
                  <a:gd name="T2" fmla="*/ 555 w 808"/>
                  <a:gd name="T3" fmla="*/ 0 h 832"/>
                  <a:gd name="T4" fmla="*/ 405 w 808"/>
                  <a:gd name="T5" fmla="*/ 568 h 832"/>
                  <a:gd name="T6" fmla="*/ 253 w 808"/>
                  <a:gd name="T7" fmla="*/ 0 h 832"/>
                  <a:gd name="T8" fmla="*/ 0 w 808"/>
                  <a:gd name="T9" fmla="*/ 0 h 832"/>
                  <a:gd name="T10" fmla="*/ 0 w 808"/>
                  <a:gd name="T11" fmla="*/ 832 h 832"/>
                  <a:gd name="T12" fmla="*/ 157 w 808"/>
                  <a:gd name="T13" fmla="*/ 832 h 832"/>
                  <a:gd name="T14" fmla="*/ 157 w 808"/>
                  <a:gd name="T15" fmla="*/ 176 h 832"/>
                  <a:gd name="T16" fmla="*/ 323 w 808"/>
                  <a:gd name="T17" fmla="*/ 832 h 832"/>
                  <a:gd name="T18" fmla="*/ 486 w 808"/>
                  <a:gd name="T19" fmla="*/ 832 h 832"/>
                  <a:gd name="T20" fmla="*/ 651 w 808"/>
                  <a:gd name="T21" fmla="*/ 176 h 832"/>
                  <a:gd name="T22" fmla="*/ 651 w 808"/>
                  <a:gd name="T23" fmla="*/ 832 h 832"/>
                  <a:gd name="T24" fmla="*/ 808 w 808"/>
                  <a:gd name="T25" fmla="*/ 832 h 832"/>
                  <a:gd name="T26" fmla="*/ 808 w 808"/>
                  <a:gd name="T2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08" h="832">
                    <a:moveTo>
                      <a:pt x="808" y="0"/>
                    </a:moveTo>
                    <a:lnTo>
                      <a:pt x="555" y="0"/>
                    </a:lnTo>
                    <a:lnTo>
                      <a:pt x="405" y="568"/>
                    </a:lnTo>
                    <a:lnTo>
                      <a:pt x="253" y="0"/>
                    </a:lnTo>
                    <a:lnTo>
                      <a:pt x="0" y="0"/>
                    </a:lnTo>
                    <a:lnTo>
                      <a:pt x="0" y="832"/>
                    </a:lnTo>
                    <a:lnTo>
                      <a:pt x="157" y="832"/>
                    </a:lnTo>
                    <a:lnTo>
                      <a:pt x="157" y="176"/>
                    </a:lnTo>
                    <a:lnTo>
                      <a:pt x="323" y="832"/>
                    </a:lnTo>
                    <a:lnTo>
                      <a:pt x="486" y="832"/>
                    </a:lnTo>
                    <a:lnTo>
                      <a:pt x="651" y="176"/>
                    </a:lnTo>
                    <a:lnTo>
                      <a:pt x="651" y="832"/>
                    </a:lnTo>
                    <a:lnTo>
                      <a:pt x="808" y="832"/>
                    </a:lnTo>
                    <a:lnTo>
                      <a:pt x="808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3" name="Rectangle 13">
                <a:extLst>
                  <a:ext uri="{FF2B5EF4-FFF2-40B4-BE49-F238E27FC236}">
                    <a16:creationId xmlns:a16="http://schemas.microsoft.com/office/drawing/2014/main" id="{DD013442-9AF7-458B-B355-07B8A4D20E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43203" y="599790"/>
                <a:ext cx="56237" cy="27850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4" name="Freeform 15">
                <a:extLst>
                  <a:ext uri="{FF2B5EF4-FFF2-40B4-BE49-F238E27FC236}">
                    <a16:creationId xmlns:a16="http://schemas.microsoft.com/office/drawing/2014/main" id="{AA2231B6-CD27-4BAC-879B-47768D5931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46638" y="599790"/>
                <a:ext cx="227290" cy="278505"/>
              </a:xfrm>
              <a:custGeom>
                <a:avLst/>
                <a:gdLst>
                  <a:gd name="T0" fmla="*/ 661 w 679"/>
                  <a:gd name="T1" fmla="*/ 0 h 832"/>
                  <a:gd name="T2" fmla="*/ 49 w 679"/>
                  <a:gd name="T3" fmla="*/ 0 h 832"/>
                  <a:gd name="T4" fmla="*/ 49 w 679"/>
                  <a:gd name="T5" fmla="*/ 140 h 832"/>
                  <a:gd name="T6" fmla="*/ 438 w 679"/>
                  <a:gd name="T7" fmla="*/ 140 h 832"/>
                  <a:gd name="T8" fmla="*/ 0 w 679"/>
                  <a:gd name="T9" fmla="*/ 681 h 832"/>
                  <a:gd name="T10" fmla="*/ 0 w 679"/>
                  <a:gd name="T11" fmla="*/ 832 h 832"/>
                  <a:gd name="T12" fmla="*/ 679 w 679"/>
                  <a:gd name="T13" fmla="*/ 832 h 832"/>
                  <a:gd name="T14" fmla="*/ 679 w 679"/>
                  <a:gd name="T15" fmla="*/ 692 h 832"/>
                  <a:gd name="T16" fmla="*/ 203 w 679"/>
                  <a:gd name="T17" fmla="*/ 692 h 832"/>
                  <a:gd name="T18" fmla="*/ 661 w 679"/>
                  <a:gd name="T19" fmla="*/ 130 h 832"/>
                  <a:gd name="T20" fmla="*/ 661 w 679"/>
                  <a:gd name="T21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79" h="832">
                    <a:moveTo>
                      <a:pt x="661" y="0"/>
                    </a:moveTo>
                    <a:lnTo>
                      <a:pt x="49" y="0"/>
                    </a:lnTo>
                    <a:lnTo>
                      <a:pt x="49" y="140"/>
                    </a:lnTo>
                    <a:lnTo>
                      <a:pt x="438" y="140"/>
                    </a:lnTo>
                    <a:lnTo>
                      <a:pt x="0" y="681"/>
                    </a:lnTo>
                    <a:lnTo>
                      <a:pt x="0" y="832"/>
                    </a:lnTo>
                    <a:lnTo>
                      <a:pt x="679" y="832"/>
                    </a:lnTo>
                    <a:lnTo>
                      <a:pt x="679" y="692"/>
                    </a:lnTo>
                    <a:lnTo>
                      <a:pt x="203" y="692"/>
                    </a:lnTo>
                    <a:lnTo>
                      <a:pt x="661" y="130"/>
                    </a:lnTo>
                    <a:lnTo>
                      <a:pt x="66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5" name="Freeform 16">
                <a:extLst>
                  <a:ext uri="{FF2B5EF4-FFF2-40B4-BE49-F238E27FC236}">
                    <a16:creationId xmlns:a16="http://schemas.microsoft.com/office/drawing/2014/main" id="{832AE946-8BA3-4232-81C5-58DFD38D6E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46638" y="599790"/>
                <a:ext cx="227290" cy="278505"/>
              </a:xfrm>
              <a:custGeom>
                <a:avLst/>
                <a:gdLst>
                  <a:gd name="T0" fmla="*/ 661 w 679"/>
                  <a:gd name="T1" fmla="*/ 0 h 832"/>
                  <a:gd name="T2" fmla="*/ 49 w 679"/>
                  <a:gd name="T3" fmla="*/ 0 h 832"/>
                  <a:gd name="T4" fmla="*/ 49 w 679"/>
                  <a:gd name="T5" fmla="*/ 140 h 832"/>
                  <a:gd name="T6" fmla="*/ 438 w 679"/>
                  <a:gd name="T7" fmla="*/ 140 h 832"/>
                  <a:gd name="T8" fmla="*/ 0 w 679"/>
                  <a:gd name="T9" fmla="*/ 681 h 832"/>
                  <a:gd name="T10" fmla="*/ 0 w 679"/>
                  <a:gd name="T11" fmla="*/ 832 h 832"/>
                  <a:gd name="T12" fmla="*/ 679 w 679"/>
                  <a:gd name="T13" fmla="*/ 832 h 832"/>
                  <a:gd name="T14" fmla="*/ 679 w 679"/>
                  <a:gd name="T15" fmla="*/ 692 h 832"/>
                  <a:gd name="T16" fmla="*/ 203 w 679"/>
                  <a:gd name="T17" fmla="*/ 692 h 832"/>
                  <a:gd name="T18" fmla="*/ 661 w 679"/>
                  <a:gd name="T19" fmla="*/ 130 h 832"/>
                  <a:gd name="T20" fmla="*/ 661 w 679"/>
                  <a:gd name="T21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79" h="832">
                    <a:moveTo>
                      <a:pt x="661" y="0"/>
                    </a:moveTo>
                    <a:lnTo>
                      <a:pt x="49" y="0"/>
                    </a:lnTo>
                    <a:lnTo>
                      <a:pt x="49" y="140"/>
                    </a:lnTo>
                    <a:lnTo>
                      <a:pt x="438" y="140"/>
                    </a:lnTo>
                    <a:lnTo>
                      <a:pt x="0" y="681"/>
                    </a:lnTo>
                    <a:lnTo>
                      <a:pt x="0" y="832"/>
                    </a:lnTo>
                    <a:lnTo>
                      <a:pt x="679" y="832"/>
                    </a:lnTo>
                    <a:lnTo>
                      <a:pt x="679" y="692"/>
                    </a:lnTo>
                    <a:lnTo>
                      <a:pt x="203" y="692"/>
                    </a:lnTo>
                    <a:lnTo>
                      <a:pt x="661" y="130"/>
                    </a:lnTo>
                    <a:lnTo>
                      <a:pt x="661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6" name="Freeform 17">
                <a:extLst>
                  <a:ext uri="{FF2B5EF4-FFF2-40B4-BE49-F238E27FC236}">
                    <a16:creationId xmlns:a16="http://schemas.microsoft.com/office/drawing/2014/main" id="{4A329594-CD25-463E-AA43-7976B710B7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2758" y="599790"/>
                <a:ext cx="212896" cy="278505"/>
              </a:xfrm>
              <a:custGeom>
                <a:avLst/>
                <a:gdLst>
                  <a:gd name="T0" fmla="*/ 620 w 636"/>
                  <a:gd name="T1" fmla="*/ 0 h 832"/>
                  <a:gd name="T2" fmla="*/ 0 w 636"/>
                  <a:gd name="T3" fmla="*/ 0 h 832"/>
                  <a:gd name="T4" fmla="*/ 0 w 636"/>
                  <a:gd name="T5" fmla="*/ 832 h 832"/>
                  <a:gd name="T6" fmla="*/ 636 w 636"/>
                  <a:gd name="T7" fmla="*/ 832 h 832"/>
                  <a:gd name="T8" fmla="*/ 636 w 636"/>
                  <a:gd name="T9" fmla="*/ 692 h 832"/>
                  <a:gd name="T10" fmla="*/ 168 w 636"/>
                  <a:gd name="T11" fmla="*/ 692 h 832"/>
                  <a:gd name="T12" fmla="*/ 168 w 636"/>
                  <a:gd name="T13" fmla="*/ 466 h 832"/>
                  <a:gd name="T14" fmla="*/ 589 w 636"/>
                  <a:gd name="T15" fmla="*/ 466 h 832"/>
                  <a:gd name="T16" fmla="*/ 589 w 636"/>
                  <a:gd name="T17" fmla="*/ 325 h 832"/>
                  <a:gd name="T18" fmla="*/ 168 w 636"/>
                  <a:gd name="T19" fmla="*/ 325 h 832"/>
                  <a:gd name="T20" fmla="*/ 168 w 636"/>
                  <a:gd name="T21" fmla="*/ 140 h 832"/>
                  <a:gd name="T22" fmla="*/ 620 w 636"/>
                  <a:gd name="T23" fmla="*/ 140 h 832"/>
                  <a:gd name="T24" fmla="*/ 620 w 636"/>
                  <a:gd name="T25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6" h="832">
                    <a:moveTo>
                      <a:pt x="620" y="0"/>
                    </a:moveTo>
                    <a:lnTo>
                      <a:pt x="0" y="0"/>
                    </a:lnTo>
                    <a:lnTo>
                      <a:pt x="0" y="832"/>
                    </a:lnTo>
                    <a:lnTo>
                      <a:pt x="636" y="832"/>
                    </a:lnTo>
                    <a:lnTo>
                      <a:pt x="636" y="692"/>
                    </a:lnTo>
                    <a:lnTo>
                      <a:pt x="168" y="692"/>
                    </a:lnTo>
                    <a:lnTo>
                      <a:pt x="168" y="466"/>
                    </a:lnTo>
                    <a:lnTo>
                      <a:pt x="589" y="466"/>
                    </a:lnTo>
                    <a:lnTo>
                      <a:pt x="589" y="325"/>
                    </a:lnTo>
                    <a:lnTo>
                      <a:pt x="168" y="325"/>
                    </a:lnTo>
                    <a:lnTo>
                      <a:pt x="168" y="140"/>
                    </a:lnTo>
                    <a:lnTo>
                      <a:pt x="620" y="140"/>
                    </a:lnTo>
                    <a:lnTo>
                      <a:pt x="6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7" name="Freeform 18">
                <a:extLst>
                  <a:ext uri="{FF2B5EF4-FFF2-40B4-BE49-F238E27FC236}">
                    <a16:creationId xmlns:a16="http://schemas.microsoft.com/office/drawing/2014/main" id="{E3FEF202-644A-484A-BCC8-44ABD9CFA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2758" y="599790"/>
                <a:ext cx="212896" cy="278505"/>
              </a:xfrm>
              <a:custGeom>
                <a:avLst/>
                <a:gdLst>
                  <a:gd name="T0" fmla="*/ 620 w 636"/>
                  <a:gd name="T1" fmla="*/ 0 h 832"/>
                  <a:gd name="T2" fmla="*/ 0 w 636"/>
                  <a:gd name="T3" fmla="*/ 0 h 832"/>
                  <a:gd name="T4" fmla="*/ 0 w 636"/>
                  <a:gd name="T5" fmla="*/ 832 h 832"/>
                  <a:gd name="T6" fmla="*/ 636 w 636"/>
                  <a:gd name="T7" fmla="*/ 832 h 832"/>
                  <a:gd name="T8" fmla="*/ 636 w 636"/>
                  <a:gd name="T9" fmla="*/ 692 h 832"/>
                  <a:gd name="T10" fmla="*/ 168 w 636"/>
                  <a:gd name="T11" fmla="*/ 692 h 832"/>
                  <a:gd name="T12" fmla="*/ 168 w 636"/>
                  <a:gd name="T13" fmla="*/ 466 h 832"/>
                  <a:gd name="T14" fmla="*/ 589 w 636"/>
                  <a:gd name="T15" fmla="*/ 466 h 832"/>
                  <a:gd name="T16" fmla="*/ 589 w 636"/>
                  <a:gd name="T17" fmla="*/ 325 h 832"/>
                  <a:gd name="T18" fmla="*/ 168 w 636"/>
                  <a:gd name="T19" fmla="*/ 325 h 832"/>
                  <a:gd name="T20" fmla="*/ 168 w 636"/>
                  <a:gd name="T21" fmla="*/ 140 h 832"/>
                  <a:gd name="T22" fmla="*/ 620 w 636"/>
                  <a:gd name="T23" fmla="*/ 140 h 832"/>
                  <a:gd name="T24" fmla="*/ 620 w 636"/>
                  <a:gd name="T25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6" h="832">
                    <a:moveTo>
                      <a:pt x="620" y="0"/>
                    </a:moveTo>
                    <a:lnTo>
                      <a:pt x="0" y="0"/>
                    </a:lnTo>
                    <a:lnTo>
                      <a:pt x="0" y="832"/>
                    </a:lnTo>
                    <a:lnTo>
                      <a:pt x="636" y="832"/>
                    </a:lnTo>
                    <a:lnTo>
                      <a:pt x="636" y="692"/>
                    </a:lnTo>
                    <a:lnTo>
                      <a:pt x="168" y="692"/>
                    </a:lnTo>
                    <a:lnTo>
                      <a:pt x="168" y="466"/>
                    </a:lnTo>
                    <a:lnTo>
                      <a:pt x="589" y="466"/>
                    </a:lnTo>
                    <a:lnTo>
                      <a:pt x="589" y="325"/>
                    </a:lnTo>
                    <a:lnTo>
                      <a:pt x="168" y="325"/>
                    </a:lnTo>
                    <a:lnTo>
                      <a:pt x="168" y="140"/>
                    </a:lnTo>
                    <a:lnTo>
                      <a:pt x="620" y="140"/>
                    </a:lnTo>
                    <a:lnTo>
                      <a:pt x="62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8" name="Freeform 19">
                <a:extLst>
                  <a:ext uri="{FF2B5EF4-FFF2-40B4-BE49-F238E27FC236}">
                    <a16:creationId xmlns:a16="http://schemas.microsoft.com/office/drawing/2014/main" id="{FD4A9F06-2F51-4D6C-A06B-A1809CD603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73489" y="961311"/>
                <a:ext cx="222269" cy="278505"/>
              </a:xfrm>
              <a:custGeom>
                <a:avLst/>
                <a:gdLst>
                  <a:gd name="T0" fmla="*/ 664 w 664"/>
                  <a:gd name="T1" fmla="*/ 0 h 832"/>
                  <a:gd name="T2" fmla="*/ 0 w 664"/>
                  <a:gd name="T3" fmla="*/ 0 h 832"/>
                  <a:gd name="T4" fmla="*/ 0 w 664"/>
                  <a:gd name="T5" fmla="*/ 141 h 832"/>
                  <a:gd name="T6" fmla="*/ 247 w 664"/>
                  <a:gd name="T7" fmla="*/ 141 h 832"/>
                  <a:gd name="T8" fmla="*/ 247 w 664"/>
                  <a:gd name="T9" fmla="*/ 832 h 832"/>
                  <a:gd name="T10" fmla="*/ 417 w 664"/>
                  <a:gd name="T11" fmla="*/ 832 h 832"/>
                  <a:gd name="T12" fmla="*/ 417 w 664"/>
                  <a:gd name="T13" fmla="*/ 141 h 832"/>
                  <a:gd name="T14" fmla="*/ 664 w 664"/>
                  <a:gd name="T15" fmla="*/ 141 h 832"/>
                  <a:gd name="T16" fmla="*/ 664 w 664"/>
                  <a:gd name="T1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4" h="832">
                    <a:moveTo>
                      <a:pt x="664" y="0"/>
                    </a:moveTo>
                    <a:lnTo>
                      <a:pt x="0" y="0"/>
                    </a:lnTo>
                    <a:lnTo>
                      <a:pt x="0" y="141"/>
                    </a:lnTo>
                    <a:lnTo>
                      <a:pt x="247" y="141"/>
                    </a:lnTo>
                    <a:lnTo>
                      <a:pt x="247" y="832"/>
                    </a:lnTo>
                    <a:lnTo>
                      <a:pt x="417" y="832"/>
                    </a:lnTo>
                    <a:lnTo>
                      <a:pt x="417" y="141"/>
                    </a:lnTo>
                    <a:lnTo>
                      <a:pt x="664" y="141"/>
                    </a:lnTo>
                    <a:lnTo>
                      <a:pt x="66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9" name="Freeform 20">
                <a:extLst>
                  <a:ext uri="{FF2B5EF4-FFF2-40B4-BE49-F238E27FC236}">
                    <a16:creationId xmlns:a16="http://schemas.microsoft.com/office/drawing/2014/main" id="{7C51AD4B-D76E-40E0-8228-05C381BC3F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73489" y="961311"/>
                <a:ext cx="222269" cy="278505"/>
              </a:xfrm>
              <a:custGeom>
                <a:avLst/>
                <a:gdLst>
                  <a:gd name="T0" fmla="*/ 664 w 664"/>
                  <a:gd name="T1" fmla="*/ 0 h 832"/>
                  <a:gd name="T2" fmla="*/ 0 w 664"/>
                  <a:gd name="T3" fmla="*/ 0 h 832"/>
                  <a:gd name="T4" fmla="*/ 0 w 664"/>
                  <a:gd name="T5" fmla="*/ 141 h 832"/>
                  <a:gd name="T6" fmla="*/ 247 w 664"/>
                  <a:gd name="T7" fmla="*/ 141 h 832"/>
                  <a:gd name="T8" fmla="*/ 247 w 664"/>
                  <a:gd name="T9" fmla="*/ 832 h 832"/>
                  <a:gd name="T10" fmla="*/ 417 w 664"/>
                  <a:gd name="T11" fmla="*/ 832 h 832"/>
                  <a:gd name="T12" fmla="*/ 417 w 664"/>
                  <a:gd name="T13" fmla="*/ 141 h 832"/>
                  <a:gd name="T14" fmla="*/ 664 w 664"/>
                  <a:gd name="T15" fmla="*/ 141 h 832"/>
                  <a:gd name="T16" fmla="*/ 664 w 664"/>
                  <a:gd name="T17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4" h="832">
                    <a:moveTo>
                      <a:pt x="664" y="0"/>
                    </a:moveTo>
                    <a:lnTo>
                      <a:pt x="0" y="0"/>
                    </a:lnTo>
                    <a:lnTo>
                      <a:pt x="0" y="141"/>
                    </a:lnTo>
                    <a:lnTo>
                      <a:pt x="247" y="141"/>
                    </a:lnTo>
                    <a:lnTo>
                      <a:pt x="247" y="832"/>
                    </a:lnTo>
                    <a:lnTo>
                      <a:pt x="417" y="832"/>
                    </a:lnTo>
                    <a:lnTo>
                      <a:pt x="417" y="141"/>
                    </a:lnTo>
                    <a:lnTo>
                      <a:pt x="664" y="141"/>
                    </a:lnTo>
                    <a:lnTo>
                      <a:pt x="66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0" name="Freeform 21">
                <a:extLst>
                  <a:ext uri="{FF2B5EF4-FFF2-40B4-BE49-F238E27FC236}">
                    <a16:creationId xmlns:a16="http://schemas.microsoft.com/office/drawing/2014/main" id="{343B1F44-BA20-4507-8E66-58201030B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32244" y="961311"/>
                <a:ext cx="223942" cy="278505"/>
              </a:xfrm>
              <a:custGeom>
                <a:avLst/>
                <a:gdLst>
                  <a:gd name="T0" fmla="*/ 669 w 669"/>
                  <a:gd name="T1" fmla="*/ 0 h 832"/>
                  <a:gd name="T2" fmla="*/ 500 w 669"/>
                  <a:gd name="T3" fmla="*/ 0 h 832"/>
                  <a:gd name="T4" fmla="*/ 500 w 669"/>
                  <a:gd name="T5" fmla="*/ 328 h 832"/>
                  <a:gd name="T6" fmla="*/ 170 w 669"/>
                  <a:gd name="T7" fmla="*/ 328 h 832"/>
                  <a:gd name="T8" fmla="*/ 170 w 669"/>
                  <a:gd name="T9" fmla="*/ 0 h 832"/>
                  <a:gd name="T10" fmla="*/ 0 w 669"/>
                  <a:gd name="T11" fmla="*/ 0 h 832"/>
                  <a:gd name="T12" fmla="*/ 0 w 669"/>
                  <a:gd name="T13" fmla="*/ 832 h 832"/>
                  <a:gd name="T14" fmla="*/ 170 w 669"/>
                  <a:gd name="T15" fmla="*/ 832 h 832"/>
                  <a:gd name="T16" fmla="*/ 170 w 669"/>
                  <a:gd name="T17" fmla="*/ 469 h 832"/>
                  <a:gd name="T18" fmla="*/ 500 w 669"/>
                  <a:gd name="T19" fmla="*/ 469 h 832"/>
                  <a:gd name="T20" fmla="*/ 500 w 669"/>
                  <a:gd name="T21" fmla="*/ 832 h 832"/>
                  <a:gd name="T22" fmla="*/ 669 w 669"/>
                  <a:gd name="T23" fmla="*/ 832 h 832"/>
                  <a:gd name="T24" fmla="*/ 669 w 669"/>
                  <a:gd name="T25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69" h="832">
                    <a:moveTo>
                      <a:pt x="669" y="0"/>
                    </a:moveTo>
                    <a:lnTo>
                      <a:pt x="500" y="0"/>
                    </a:lnTo>
                    <a:lnTo>
                      <a:pt x="500" y="328"/>
                    </a:lnTo>
                    <a:lnTo>
                      <a:pt x="170" y="328"/>
                    </a:lnTo>
                    <a:lnTo>
                      <a:pt x="170" y="0"/>
                    </a:lnTo>
                    <a:lnTo>
                      <a:pt x="0" y="0"/>
                    </a:lnTo>
                    <a:lnTo>
                      <a:pt x="0" y="832"/>
                    </a:lnTo>
                    <a:lnTo>
                      <a:pt x="170" y="832"/>
                    </a:lnTo>
                    <a:lnTo>
                      <a:pt x="170" y="469"/>
                    </a:lnTo>
                    <a:lnTo>
                      <a:pt x="500" y="469"/>
                    </a:lnTo>
                    <a:lnTo>
                      <a:pt x="500" y="832"/>
                    </a:lnTo>
                    <a:lnTo>
                      <a:pt x="669" y="832"/>
                    </a:lnTo>
                    <a:lnTo>
                      <a:pt x="66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1" name="Freeform 22">
                <a:extLst>
                  <a:ext uri="{FF2B5EF4-FFF2-40B4-BE49-F238E27FC236}">
                    <a16:creationId xmlns:a16="http://schemas.microsoft.com/office/drawing/2014/main" id="{CAB92D07-C280-42A9-B8E0-BEEA4B847D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32244" y="961311"/>
                <a:ext cx="223942" cy="278505"/>
              </a:xfrm>
              <a:custGeom>
                <a:avLst/>
                <a:gdLst>
                  <a:gd name="T0" fmla="*/ 669 w 669"/>
                  <a:gd name="T1" fmla="*/ 0 h 832"/>
                  <a:gd name="T2" fmla="*/ 500 w 669"/>
                  <a:gd name="T3" fmla="*/ 0 h 832"/>
                  <a:gd name="T4" fmla="*/ 500 w 669"/>
                  <a:gd name="T5" fmla="*/ 328 h 832"/>
                  <a:gd name="T6" fmla="*/ 170 w 669"/>
                  <a:gd name="T7" fmla="*/ 328 h 832"/>
                  <a:gd name="T8" fmla="*/ 170 w 669"/>
                  <a:gd name="T9" fmla="*/ 0 h 832"/>
                  <a:gd name="T10" fmla="*/ 0 w 669"/>
                  <a:gd name="T11" fmla="*/ 0 h 832"/>
                  <a:gd name="T12" fmla="*/ 0 w 669"/>
                  <a:gd name="T13" fmla="*/ 832 h 832"/>
                  <a:gd name="T14" fmla="*/ 170 w 669"/>
                  <a:gd name="T15" fmla="*/ 832 h 832"/>
                  <a:gd name="T16" fmla="*/ 170 w 669"/>
                  <a:gd name="T17" fmla="*/ 469 h 832"/>
                  <a:gd name="T18" fmla="*/ 500 w 669"/>
                  <a:gd name="T19" fmla="*/ 469 h 832"/>
                  <a:gd name="T20" fmla="*/ 500 w 669"/>
                  <a:gd name="T21" fmla="*/ 832 h 832"/>
                  <a:gd name="T22" fmla="*/ 669 w 669"/>
                  <a:gd name="T23" fmla="*/ 832 h 832"/>
                  <a:gd name="T24" fmla="*/ 669 w 669"/>
                  <a:gd name="T25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69" h="832">
                    <a:moveTo>
                      <a:pt x="669" y="0"/>
                    </a:moveTo>
                    <a:lnTo>
                      <a:pt x="500" y="0"/>
                    </a:lnTo>
                    <a:lnTo>
                      <a:pt x="500" y="328"/>
                    </a:lnTo>
                    <a:lnTo>
                      <a:pt x="170" y="328"/>
                    </a:lnTo>
                    <a:lnTo>
                      <a:pt x="170" y="0"/>
                    </a:lnTo>
                    <a:lnTo>
                      <a:pt x="0" y="0"/>
                    </a:lnTo>
                    <a:lnTo>
                      <a:pt x="0" y="832"/>
                    </a:lnTo>
                    <a:lnTo>
                      <a:pt x="170" y="832"/>
                    </a:lnTo>
                    <a:lnTo>
                      <a:pt x="170" y="469"/>
                    </a:lnTo>
                    <a:lnTo>
                      <a:pt x="500" y="469"/>
                    </a:lnTo>
                    <a:lnTo>
                      <a:pt x="500" y="832"/>
                    </a:lnTo>
                    <a:lnTo>
                      <a:pt x="669" y="832"/>
                    </a:lnTo>
                    <a:lnTo>
                      <a:pt x="669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2" name="Freeform 23">
                <a:extLst>
                  <a:ext uri="{FF2B5EF4-FFF2-40B4-BE49-F238E27FC236}">
                    <a16:creationId xmlns:a16="http://schemas.microsoft.com/office/drawing/2014/main" id="{D4A9EDCD-CF76-4BDE-A9E4-7877C6D44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2758" y="961311"/>
                <a:ext cx="212896" cy="278505"/>
              </a:xfrm>
              <a:custGeom>
                <a:avLst/>
                <a:gdLst>
                  <a:gd name="T0" fmla="*/ 620 w 636"/>
                  <a:gd name="T1" fmla="*/ 0 h 832"/>
                  <a:gd name="T2" fmla="*/ 0 w 636"/>
                  <a:gd name="T3" fmla="*/ 0 h 832"/>
                  <a:gd name="T4" fmla="*/ 0 w 636"/>
                  <a:gd name="T5" fmla="*/ 832 h 832"/>
                  <a:gd name="T6" fmla="*/ 636 w 636"/>
                  <a:gd name="T7" fmla="*/ 832 h 832"/>
                  <a:gd name="T8" fmla="*/ 636 w 636"/>
                  <a:gd name="T9" fmla="*/ 692 h 832"/>
                  <a:gd name="T10" fmla="*/ 168 w 636"/>
                  <a:gd name="T11" fmla="*/ 692 h 832"/>
                  <a:gd name="T12" fmla="*/ 168 w 636"/>
                  <a:gd name="T13" fmla="*/ 466 h 832"/>
                  <a:gd name="T14" fmla="*/ 589 w 636"/>
                  <a:gd name="T15" fmla="*/ 466 h 832"/>
                  <a:gd name="T16" fmla="*/ 589 w 636"/>
                  <a:gd name="T17" fmla="*/ 325 h 832"/>
                  <a:gd name="T18" fmla="*/ 168 w 636"/>
                  <a:gd name="T19" fmla="*/ 325 h 832"/>
                  <a:gd name="T20" fmla="*/ 168 w 636"/>
                  <a:gd name="T21" fmla="*/ 141 h 832"/>
                  <a:gd name="T22" fmla="*/ 620 w 636"/>
                  <a:gd name="T23" fmla="*/ 141 h 832"/>
                  <a:gd name="T24" fmla="*/ 620 w 636"/>
                  <a:gd name="T25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6" h="832">
                    <a:moveTo>
                      <a:pt x="620" y="0"/>
                    </a:moveTo>
                    <a:lnTo>
                      <a:pt x="0" y="0"/>
                    </a:lnTo>
                    <a:lnTo>
                      <a:pt x="0" y="832"/>
                    </a:lnTo>
                    <a:lnTo>
                      <a:pt x="636" y="832"/>
                    </a:lnTo>
                    <a:lnTo>
                      <a:pt x="636" y="692"/>
                    </a:lnTo>
                    <a:lnTo>
                      <a:pt x="168" y="692"/>
                    </a:lnTo>
                    <a:lnTo>
                      <a:pt x="168" y="466"/>
                    </a:lnTo>
                    <a:lnTo>
                      <a:pt x="589" y="466"/>
                    </a:lnTo>
                    <a:lnTo>
                      <a:pt x="589" y="325"/>
                    </a:lnTo>
                    <a:lnTo>
                      <a:pt x="168" y="325"/>
                    </a:lnTo>
                    <a:lnTo>
                      <a:pt x="168" y="141"/>
                    </a:lnTo>
                    <a:lnTo>
                      <a:pt x="620" y="141"/>
                    </a:lnTo>
                    <a:lnTo>
                      <a:pt x="6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3" name="Freeform 24">
                <a:extLst>
                  <a:ext uri="{FF2B5EF4-FFF2-40B4-BE49-F238E27FC236}">
                    <a16:creationId xmlns:a16="http://schemas.microsoft.com/office/drawing/2014/main" id="{43C9D24E-5BC4-47E3-8C71-CF88D9A74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2758" y="961311"/>
                <a:ext cx="212896" cy="278505"/>
              </a:xfrm>
              <a:custGeom>
                <a:avLst/>
                <a:gdLst>
                  <a:gd name="T0" fmla="*/ 620 w 636"/>
                  <a:gd name="T1" fmla="*/ 0 h 832"/>
                  <a:gd name="T2" fmla="*/ 0 w 636"/>
                  <a:gd name="T3" fmla="*/ 0 h 832"/>
                  <a:gd name="T4" fmla="*/ 0 w 636"/>
                  <a:gd name="T5" fmla="*/ 832 h 832"/>
                  <a:gd name="T6" fmla="*/ 636 w 636"/>
                  <a:gd name="T7" fmla="*/ 832 h 832"/>
                  <a:gd name="T8" fmla="*/ 636 w 636"/>
                  <a:gd name="T9" fmla="*/ 692 h 832"/>
                  <a:gd name="T10" fmla="*/ 168 w 636"/>
                  <a:gd name="T11" fmla="*/ 692 h 832"/>
                  <a:gd name="T12" fmla="*/ 168 w 636"/>
                  <a:gd name="T13" fmla="*/ 466 h 832"/>
                  <a:gd name="T14" fmla="*/ 589 w 636"/>
                  <a:gd name="T15" fmla="*/ 466 h 832"/>
                  <a:gd name="T16" fmla="*/ 589 w 636"/>
                  <a:gd name="T17" fmla="*/ 325 h 832"/>
                  <a:gd name="T18" fmla="*/ 168 w 636"/>
                  <a:gd name="T19" fmla="*/ 325 h 832"/>
                  <a:gd name="T20" fmla="*/ 168 w 636"/>
                  <a:gd name="T21" fmla="*/ 141 h 832"/>
                  <a:gd name="T22" fmla="*/ 620 w 636"/>
                  <a:gd name="T23" fmla="*/ 141 h 832"/>
                  <a:gd name="T24" fmla="*/ 620 w 636"/>
                  <a:gd name="T25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6" h="832">
                    <a:moveTo>
                      <a:pt x="620" y="0"/>
                    </a:moveTo>
                    <a:lnTo>
                      <a:pt x="0" y="0"/>
                    </a:lnTo>
                    <a:lnTo>
                      <a:pt x="0" y="832"/>
                    </a:lnTo>
                    <a:lnTo>
                      <a:pt x="636" y="832"/>
                    </a:lnTo>
                    <a:lnTo>
                      <a:pt x="636" y="692"/>
                    </a:lnTo>
                    <a:lnTo>
                      <a:pt x="168" y="692"/>
                    </a:lnTo>
                    <a:lnTo>
                      <a:pt x="168" y="466"/>
                    </a:lnTo>
                    <a:lnTo>
                      <a:pt x="589" y="466"/>
                    </a:lnTo>
                    <a:lnTo>
                      <a:pt x="589" y="325"/>
                    </a:lnTo>
                    <a:lnTo>
                      <a:pt x="168" y="325"/>
                    </a:lnTo>
                    <a:lnTo>
                      <a:pt x="168" y="141"/>
                    </a:lnTo>
                    <a:lnTo>
                      <a:pt x="620" y="141"/>
                    </a:lnTo>
                    <a:lnTo>
                      <a:pt x="62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4" name="Freeform 25">
                <a:extLst>
                  <a:ext uri="{FF2B5EF4-FFF2-40B4-BE49-F238E27FC236}">
                    <a16:creationId xmlns:a16="http://schemas.microsoft.com/office/drawing/2014/main" id="{2FB6811E-CCAE-4CF8-BD3A-1F74AFF8BB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68857" y="1322833"/>
                <a:ext cx="192142" cy="278840"/>
              </a:xfrm>
              <a:custGeom>
                <a:avLst/>
                <a:gdLst>
                  <a:gd name="T0" fmla="*/ 574 w 574"/>
                  <a:gd name="T1" fmla="*/ 0 h 833"/>
                  <a:gd name="T2" fmla="*/ 0 w 574"/>
                  <a:gd name="T3" fmla="*/ 0 h 833"/>
                  <a:gd name="T4" fmla="*/ 0 w 574"/>
                  <a:gd name="T5" fmla="*/ 833 h 833"/>
                  <a:gd name="T6" fmla="*/ 169 w 574"/>
                  <a:gd name="T7" fmla="*/ 833 h 833"/>
                  <a:gd name="T8" fmla="*/ 169 w 574"/>
                  <a:gd name="T9" fmla="*/ 479 h 833"/>
                  <a:gd name="T10" fmla="*/ 518 w 574"/>
                  <a:gd name="T11" fmla="*/ 479 h 833"/>
                  <a:gd name="T12" fmla="*/ 518 w 574"/>
                  <a:gd name="T13" fmla="*/ 338 h 833"/>
                  <a:gd name="T14" fmla="*/ 169 w 574"/>
                  <a:gd name="T15" fmla="*/ 338 h 833"/>
                  <a:gd name="T16" fmla="*/ 169 w 574"/>
                  <a:gd name="T17" fmla="*/ 141 h 833"/>
                  <a:gd name="T18" fmla="*/ 574 w 574"/>
                  <a:gd name="T19" fmla="*/ 141 h 833"/>
                  <a:gd name="T20" fmla="*/ 574 w 574"/>
                  <a:gd name="T21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4" h="833">
                    <a:moveTo>
                      <a:pt x="574" y="0"/>
                    </a:moveTo>
                    <a:lnTo>
                      <a:pt x="0" y="0"/>
                    </a:lnTo>
                    <a:lnTo>
                      <a:pt x="0" y="833"/>
                    </a:lnTo>
                    <a:lnTo>
                      <a:pt x="169" y="833"/>
                    </a:lnTo>
                    <a:lnTo>
                      <a:pt x="169" y="479"/>
                    </a:lnTo>
                    <a:lnTo>
                      <a:pt x="518" y="479"/>
                    </a:lnTo>
                    <a:lnTo>
                      <a:pt x="518" y="338"/>
                    </a:lnTo>
                    <a:lnTo>
                      <a:pt x="169" y="338"/>
                    </a:lnTo>
                    <a:lnTo>
                      <a:pt x="169" y="141"/>
                    </a:lnTo>
                    <a:lnTo>
                      <a:pt x="574" y="141"/>
                    </a:lnTo>
                    <a:lnTo>
                      <a:pt x="57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5" name="Freeform 26">
                <a:extLst>
                  <a:ext uri="{FF2B5EF4-FFF2-40B4-BE49-F238E27FC236}">
                    <a16:creationId xmlns:a16="http://schemas.microsoft.com/office/drawing/2014/main" id="{4C0D2B7B-51D1-43E4-A4A7-237BFAA17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68857" y="1322833"/>
                <a:ext cx="192142" cy="278840"/>
              </a:xfrm>
              <a:custGeom>
                <a:avLst/>
                <a:gdLst>
                  <a:gd name="T0" fmla="*/ 574 w 574"/>
                  <a:gd name="T1" fmla="*/ 0 h 833"/>
                  <a:gd name="T2" fmla="*/ 0 w 574"/>
                  <a:gd name="T3" fmla="*/ 0 h 833"/>
                  <a:gd name="T4" fmla="*/ 0 w 574"/>
                  <a:gd name="T5" fmla="*/ 833 h 833"/>
                  <a:gd name="T6" fmla="*/ 169 w 574"/>
                  <a:gd name="T7" fmla="*/ 833 h 833"/>
                  <a:gd name="T8" fmla="*/ 169 w 574"/>
                  <a:gd name="T9" fmla="*/ 479 h 833"/>
                  <a:gd name="T10" fmla="*/ 518 w 574"/>
                  <a:gd name="T11" fmla="*/ 479 h 833"/>
                  <a:gd name="T12" fmla="*/ 518 w 574"/>
                  <a:gd name="T13" fmla="*/ 338 h 833"/>
                  <a:gd name="T14" fmla="*/ 169 w 574"/>
                  <a:gd name="T15" fmla="*/ 338 h 833"/>
                  <a:gd name="T16" fmla="*/ 169 w 574"/>
                  <a:gd name="T17" fmla="*/ 141 h 833"/>
                  <a:gd name="T18" fmla="*/ 574 w 574"/>
                  <a:gd name="T19" fmla="*/ 141 h 833"/>
                  <a:gd name="T20" fmla="*/ 574 w 574"/>
                  <a:gd name="T21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4" h="833">
                    <a:moveTo>
                      <a:pt x="574" y="0"/>
                    </a:moveTo>
                    <a:lnTo>
                      <a:pt x="0" y="0"/>
                    </a:lnTo>
                    <a:lnTo>
                      <a:pt x="0" y="833"/>
                    </a:lnTo>
                    <a:lnTo>
                      <a:pt x="169" y="833"/>
                    </a:lnTo>
                    <a:lnTo>
                      <a:pt x="169" y="479"/>
                    </a:lnTo>
                    <a:lnTo>
                      <a:pt x="518" y="479"/>
                    </a:lnTo>
                    <a:lnTo>
                      <a:pt x="518" y="338"/>
                    </a:lnTo>
                    <a:lnTo>
                      <a:pt x="169" y="338"/>
                    </a:lnTo>
                    <a:lnTo>
                      <a:pt x="169" y="141"/>
                    </a:lnTo>
                    <a:lnTo>
                      <a:pt x="574" y="141"/>
                    </a:lnTo>
                    <a:lnTo>
                      <a:pt x="57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6" name="Freeform 27">
                <a:extLst>
                  <a:ext uri="{FF2B5EF4-FFF2-40B4-BE49-F238E27FC236}">
                    <a16:creationId xmlns:a16="http://schemas.microsoft.com/office/drawing/2014/main" id="{CE4249CA-0E1C-406C-BB71-1A6FB3D9F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90456" y="1322833"/>
                <a:ext cx="223273" cy="283526"/>
              </a:xfrm>
              <a:custGeom>
                <a:avLst/>
                <a:gdLst>
                  <a:gd name="T0" fmla="*/ 689 w 689"/>
                  <a:gd name="T1" fmla="*/ 0 h 878"/>
                  <a:gd name="T2" fmla="*/ 515 w 689"/>
                  <a:gd name="T3" fmla="*/ 0 h 878"/>
                  <a:gd name="T4" fmla="*/ 515 w 689"/>
                  <a:gd name="T5" fmla="*/ 478 h 878"/>
                  <a:gd name="T6" fmla="*/ 507 w 689"/>
                  <a:gd name="T7" fmla="*/ 624 h 878"/>
                  <a:gd name="T8" fmla="*/ 462 w 689"/>
                  <a:gd name="T9" fmla="*/ 699 h 878"/>
                  <a:gd name="T10" fmla="*/ 350 w 689"/>
                  <a:gd name="T11" fmla="*/ 729 h 878"/>
                  <a:gd name="T12" fmla="*/ 235 w 689"/>
                  <a:gd name="T13" fmla="*/ 697 h 878"/>
                  <a:gd name="T14" fmla="*/ 181 w 689"/>
                  <a:gd name="T15" fmla="*/ 612 h 878"/>
                  <a:gd name="T16" fmla="*/ 175 w 689"/>
                  <a:gd name="T17" fmla="*/ 468 h 878"/>
                  <a:gd name="T18" fmla="*/ 175 w 689"/>
                  <a:gd name="T19" fmla="*/ 0 h 878"/>
                  <a:gd name="T20" fmla="*/ 0 w 689"/>
                  <a:gd name="T21" fmla="*/ 0 h 878"/>
                  <a:gd name="T22" fmla="*/ 0 w 689"/>
                  <a:gd name="T23" fmla="*/ 460 h 878"/>
                  <a:gd name="T24" fmla="*/ 18 w 689"/>
                  <a:gd name="T25" fmla="*/ 680 h 878"/>
                  <a:gd name="T26" fmla="*/ 66 w 689"/>
                  <a:gd name="T27" fmla="*/ 775 h 878"/>
                  <a:gd name="T28" fmla="*/ 167 w 689"/>
                  <a:gd name="T29" fmla="*/ 850 h 878"/>
                  <a:gd name="T30" fmla="*/ 355 w 689"/>
                  <a:gd name="T31" fmla="*/ 878 h 878"/>
                  <a:gd name="T32" fmla="*/ 521 w 689"/>
                  <a:gd name="T33" fmla="*/ 852 h 878"/>
                  <a:gd name="T34" fmla="*/ 623 w 689"/>
                  <a:gd name="T35" fmla="*/ 782 h 878"/>
                  <a:gd name="T36" fmla="*/ 675 w 689"/>
                  <a:gd name="T37" fmla="*/ 673 h 878"/>
                  <a:gd name="T38" fmla="*/ 689 w 689"/>
                  <a:gd name="T39" fmla="*/ 453 h 878"/>
                  <a:gd name="T40" fmla="*/ 689 w 689"/>
                  <a:gd name="T41" fmla="*/ 0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89" h="878">
                    <a:moveTo>
                      <a:pt x="689" y="0"/>
                    </a:moveTo>
                    <a:cubicBezTo>
                      <a:pt x="515" y="0"/>
                      <a:pt x="515" y="0"/>
                      <a:pt x="515" y="0"/>
                    </a:cubicBezTo>
                    <a:cubicBezTo>
                      <a:pt x="515" y="478"/>
                      <a:pt x="515" y="478"/>
                      <a:pt x="515" y="478"/>
                    </a:cubicBezTo>
                    <a:cubicBezTo>
                      <a:pt x="515" y="546"/>
                      <a:pt x="512" y="595"/>
                      <a:pt x="507" y="624"/>
                    </a:cubicBezTo>
                    <a:cubicBezTo>
                      <a:pt x="502" y="654"/>
                      <a:pt x="487" y="679"/>
                      <a:pt x="462" y="699"/>
                    </a:cubicBezTo>
                    <a:cubicBezTo>
                      <a:pt x="436" y="719"/>
                      <a:pt x="399" y="729"/>
                      <a:pt x="350" y="729"/>
                    </a:cubicBezTo>
                    <a:cubicBezTo>
                      <a:pt x="301" y="729"/>
                      <a:pt x="263" y="718"/>
                      <a:pt x="235" y="697"/>
                    </a:cubicBezTo>
                    <a:cubicBezTo>
                      <a:pt x="206" y="676"/>
                      <a:pt x="189" y="647"/>
                      <a:pt x="181" y="612"/>
                    </a:cubicBezTo>
                    <a:cubicBezTo>
                      <a:pt x="177" y="590"/>
                      <a:pt x="175" y="542"/>
                      <a:pt x="175" y="468"/>
                    </a:cubicBezTo>
                    <a:cubicBezTo>
                      <a:pt x="175" y="0"/>
                      <a:pt x="175" y="0"/>
                      <a:pt x="17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557"/>
                      <a:pt x="6" y="630"/>
                      <a:pt x="18" y="680"/>
                    </a:cubicBezTo>
                    <a:cubicBezTo>
                      <a:pt x="25" y="713"/>
                      <a:pt x="42" y="745"/>
                      <a:pt x="66" y="775"/>
                    </a:cubicBezTo>
                    <a:cubicBezTo>
                      <a:pt x="91" y="806"/>
                      <a:pt x="125" y="830"/>
                      <a:pt x="167" y="850"/>
                    </a:cubicBezTo>
                    <a:cubicBezTo>
                      <a:pt x="210" y="869"/>
                      <a:pt x="273" y="878"/>
                      <a:pt x="355" y="878"/>
                    </a:cubicBezTo>
                    <a:cubicBezTo>
                      <a:pt x="423" y="878"/>
                      <a:pt x="479" y="869"/>
                      <a:pt x="521" y="852"/>
                    </a:cubicBezTo>
                    <a:cubicBezTo>
                      <a:pt x="563" y="834"/>
                      <a:pt x="597" y="811"/>
                      <a:pt x="623" y="782"/>
                    </a:cubicBezTo>
                    <a:cubicBezTo>
                      <a:pt x="648" y="752"/>
                      <a:pt x="665" y="716"/>
                      <a:pt x="675" y="673"/>
                    </a:cubicBezTo>
                    <a:cubicBezTo>
                      <a:pt x="684" y="630"/>
                      <a:pt x="689" y="557"/>
                      <a:pt x="689" y="453"/>
                    </a:cubicBezTo>
                    <a:cubicBezTo>
                      <a:pt x="689" y="0"/>
                      <a:pt x="689" y="0"/>
                      <a:pt x="689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7" name="Freeform 28">
                <a:extLst>
                  <a:ext uri="{FF2B5EF4-FFF2-40B4-BE49-F238E27FC236}">
                    <a16:creationId xmlns:a16="http://schemas.microsoft.com/office/drawing/2014/main" id="{9B661834-2B1B-4B41-BD76-BF64F8EA31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34818" y="1322833"/>
                <a:ext cx="222269" cy="278840"/>
              </a:xfrm>
              <a:custGeom>
                <a:avLst/>
                <a:gdLst>
                  <a:gd name="T0" fmla="*/ 664 w 664"/>
                  <a:gd name="T1" fmla="*/ 0 h 833"/>
                  <a:gd name="T2" fmla="*/ 0 w 664"/>
                  <a:gd name="T3" fmla="*/ 0 h 833"/>
                  <a:gd name="T4" fmla="*/ 0 w 664"/>
                  <a:gd name="T5" fmla="*/ 141 h 833"/>
                  <a:gd name="T6" fmla="*/ 248 w 664"/>
                  <a:gd name="T7" fmla="*/ 141 h 833"/>
                  <a:gd name="T8" fmla="*/ 248 w 664"/>
                  <a:gd name="T9" fmla="*/ 833 h 833"/>
                  <a:gd name="T10" fmla="*/ 417 w 664"/>
                  <a:gd name="T11" fmla="*/ 833 h 833"/>
                  <a:gd name="T12" fmla="*/ 417 w 664"/>
                  <a:gd name="T13" fmla="*/ 141 h 833"/>
                  <a:gd name="T14" fmla="*/ 664 w 664"/>
                  <a:gd name="T15" fmla="*/ 141 h 833"/>
                  <a:gd name="T16" fmla="*/ 664 w 664"/>
                  <a:gd name="T17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4" h="833">
                    <a:moveTo>
                      <a:pt x="664" y="0"/>
                    </a:moveTo>
                    <a:lnTo>
                      <a:pt x="0" y="0"/>
                    </a:lnTo>
                    <a:lnTo>
                      <a:pt x="0" y="141"/>
                    </a:lnTo>
                    <a:lnTo>
                      <a:pt x="248" y="141"/>
                    </a:lnTo>
                    <a:lnTo>
                      <a:pt x="248" y="833"/>
                    </a:lnTo>
                    <a:lnTo>
                      <a:pt x="417" y="833"/>
                    </a:lnTo>
                    <a:lnTo>
                      <a:pt x="417" y="141"/>
                    </a:lnTo>
                    <a:lnTo>
                      <a:pt x="664" y="141"/>
                    </a:lnTo>
                    <a:lnTo>
                      <a:pt x="66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8" name="Freeform 29">
                <a:extLst>
                  <a:ext uri="{FF2B5EF4-FFF2-40B4-BE49-F238E27FC236}">
                    <a16:creationId xmlns:a16="http://schemas.microsoft.com/office/drawing/2014/main" id="{BAA34B22-CDC9-4C12-A8C8-9D34DB339E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34818" y="1322833"/>
                <a:ext cx="222269" cy="278840"/>
              </a:xfrm>
              <a:custGeom>
                <a:avLst/>
                <a:gdLst>
                  <a:gd name="T0" fmla="*/ 664 w 664"/>
                  <a:gd name="T1" fmla="*/ 0 h 833"/>
                  <a:gd name="T2" fmla="*/ 0 w 664"/>
                  <a:gd name="T3" fmla="*/ 0 h 833"/>
                  <a:gd name="T4" fmla="*/ 0 w 664"/>
                  <a:gd name="T5" fmla="*/ 141 h 833"/>
                  <a:gd name="T6" fmla="*/ 248 w 664"/>
                  <a:gd name="T7" fmla="*/ 141 h 833"/>
                  <a:gd name="T8" fmla="*/ 248 w 664"/>
                  <a:gd name="T9" fmla="*/ 833 h 833"/>
                  <a:gd name="T10" fmla="*/ 417 w 664"/>
                  <a:gd name="T11" fmla="*/ 833 h 833"/>
                  <a:gd name="T12" fmla="*/ 417 w 664"/>
                  <a:gd name="T13" fmla="*/ 141 h 833"/>
                  <a:gd name="T14" fmla="*/ 664 w 664"/>
                  <a:gd name="T15" fmla="*/ 141 h 833"/>
                  <a:gd name="T16" fmla="*/ 664 w 664"/>
                  <a:gd name="T17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4" h="833">
                    <a:moveTo>
                      <a:pt x="664" y="0"/>
                    </a:moveTo>
                    <a:lnTo>
                      <a:pt x="0" y="0"/>
                    </a:lnTo>
                    <a:lnTo>
                      <a:pt x="0" y="141"/>
                    </a:lnTo>
                    <a:lnTo>
                      <a:pt x="248" y="141"/>
                    </a:lnTo>
                    <a:lnTo>
                      <a:pt x="248" y="833"/>
                    </a:lnTo>
                    <a:lnTo>
                      <a:pt x="417" y="833"/>
                    </a:lnTo>
                    <a:lnTo>
                      <a:pt x="417" y="141"/>
                    </a:lnTo>
                    <a:lnTo>
                      <a:pt x="664" y="141"/>
                    </a:lnTo>
                    <a:lnTo>
                      <a:pt x="66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19" name="Freeform 30">
                <a:extLst>
                  <a:ext uri="{FF2B5EF4-FFF2-40B4-BE49-F238E27FC236}">
                    <a16:creationId xmlns:a16="http://schemas.microsoft.com/office/drawing/2014/main" id="{30280818-2B65-4740-8DEF-4AE9212AE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74828" y="1322833"/>
                <a:ext cx="223608" cy="283526"/>
              </a:xfrm>
              <a:custGeom>
                <a:avLst/>
                <a:gdLst>
                  <a:gd name="T0" fmla="*/ 689 w 689"/>
                  <a:gd name="T1" fmla="*/ 0 h 878"/>
                  <a:gd name="T2" fmla="*/ 514 w 689"/>
                  <a:gd name="T3" fmla="*/ 0 h 878"/>
                  <a:gd name="T4" fmla="*/ 514 w 689"/>
                  <a:gd name="T5" fmla="*/ 478 h 878"/>
                  <a:gd name="T6" fmla="*/ 507 w 689"/>
                  <a:gd name="T7" fmla="*/ 624 h 878"/>
                  <a:gd name="T8" fmla="*/ 461 w 689"/>
                  <a:gd name="T9" fmla="*/ 699 h 878"/>
                  <a:gd name="T10" fmla="*/ 349 w 689"/>
                  <a:gd name="T11" fmla="*/ 729 h 878"/>
                  <a:gd name="T12" fmla="*/ 234 w 689"/>
                  <a:gd name="T13" fmla="*/ 697 h 878"/>
                  <a:gd name="T14" fmla="*/ 181 w 689"/>
                  <a:gd name="T15" fmla="*/ 612 h 878"/>
                  <a:gd name="T16" fmla="*/ 174 w 689"/>
                  <a:gd name="T17" fmla="*/ 468 h 878"/>
                  <a:gd name="T18" fmla="*/ 174 w 689"/>
                  <a:gd name="T19" fmla="*/ 0 h 878"/>
                  <a:gd name="T20" fmla="*/ 0 w 689"/>
                  <a:gd name="T21" fmla="*/ 0 h 878"/>
                  <a:gd name="T22" fmla="*/ 0 w 689"/>
                  <a:gd name="T23" fmla="*/ 460 h 878"/>
                  <a:gd name="T24" fmla="*/ 17 w 689"/>
                  <a:gd name="T25" fmla="*/ 680 h 878"/>
                  <a:gd name="T26" fmla="*/ 66 w 689"/>
                  <a:gd name="T27" fmla="*/ 775 h 878"/>
                  <a:gd name="T28" fmla="*/ 167 w 689"/>
                  <a:gd name="T29" fmla="*/ 850 h 878"/>
                  <a:gd name="T30" fmla="*/ 355 w 689"/>
                  <a:gd name="T31" fmla="*/ 878 h 878"/>
                  <a:gd name="T32" fmla="*/ 521 w 689"/>
                  <a:gd name="T33" fmla="*/ 852 h 878"/>
                  <a:gd name="T34" fmla="*/ 622 w 689"/>
                  <a:gd name="T35" fmla="*/ 782 h 878"/>
                  <a:gd name="T36" fmla="*/ 674 w 689"/>
                  <a:gd name="T37" fmla="*/ 673 h 878"/>
                  <a:gd name="T38" fmla="*/ 689 w 689"/>
                  <a:gd name="T39" fmla="*/ 453 h 878"/>
                  <a:gd name="T40" fmla="*/ 689 w 689"/>
                  <a:gd name="T41" fmla="*/ 0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89" h="878">
                    <a:moveTo>
                      <a:pt x="689" y="0"/>
                    </a:moveTo>
                    <a:cubicBezTo>
                      <a:pt x="514" y="0"/>
                      <a:pt x="514" y="0"/>
                      <a:pt x="514" y="0"/>
                    </a:cubicBezTo>
                    <a:cubicBezTo>
                      <a:pt x="514" y="478"/>
                      <a:pt x="514" y="478"/>
                      <a:pt x="514" y="478"/>
                    </a:cubicBezTo>
                    <a:cubicBezTo>
                      <a:pt x="514" y="546"/>
                      <a:pt x="512" y="595"/>
                      <a:pt x="507" y="624"/>
                    </a:cubicBezTo>
                    <a:cubicBezTo>
                      <a:pt x="501" y="654"/>
                      <a:pt x="486" y="679"/>
                      <a:pt x="461" y="699"/>
                    </a:cubicBezTo>
                    <a:cubicBezTo>
                      <a:pt x="436" y="719"/>
                      <a:pt x="399" y="729"/>
                      <a:pt x="349" y="729"/>
                    </a:cubicBezTo>
                    <a:cubicBezTo>
                      <a:pt x="301" y="729"/>
                      <a:pt x="262" y="718"/>
                      <a:pt x="234" y="697"/>
                    </a:cubicBezTo>
                    <a:cubicBezTo>
                      <a:pt x="206" y="676"/>
                      <a:pt x="188" y="647"/>
                      <a:pt x="181" y="612"/>
                    </a:cubicBezTo>
                    <a:cubicBezTo>
                      <a:pt x="177" y="590"/>
                      <a:pt x="174" y="542"/>
                      <a:pt x="174" y="468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60"/>
                      <a:pt x="0" y="460"/>
                      <a:pt x="0" y="460"/>
                    </a:cubicBezTo>
                    <a:cubicBezTo>
                      <a:pt x="0" y="557"/>
                      <a:pt x="6" y="630"/>
                      <a:pt x="17" y="680"/>
                    </a:cubicBezTo>
                    <a:cubicBezTo>
                      <a:pt x="25" y="713"/>
                      <a:pt x="41" y="745"/>
                      <a:pt x="66" y="775"/>
                    </a:cubicBezTo>
                    <a:cubicBezTo>
                      <a:pt x="91" y="806"/>
                      <a:pt x="124" y="830"/>
                      <a:pt x="167" y="850"/>
                    </a:cubicBezTo>
                    <a:cubicBezTo>
                      <a:pt x="210" y="869"/>
                      <a:pt x="272" y="878"/>
                      <a:pt x="355" y="878"/>
                    </a:cubicBezTo>
                    <a:cubicBezTo>
                      <a:pt x="423" y="878"/>
                      <a:pt x="478" y="869"/>
                      <a:pt x="521" y="852"/>
                    </a:cubicBezTo>
                    <a:cubicBezTo>
                      <a:pt x="563" y="834"/>
                      <a:pt x="597" y="811"/>
                      <a:pt x="622" y="782"/>
                    </a:cubicBezTo>
                    <a:cubicBezTo>
                      <a:pt x="648" y="752"/>
                      <a:pt x="665" y="716"/>
                      <a:pt x="674" y="673"/>
                    </a:cubicBezTo>
                    <a:cubicBezTo>
                      <a:pt x="684" y="630"/>
                      <a:pt x="689" y="557"/>
                      <a:pt x="689" y="453"/>
                    </a:cubicBezTo>
                    <a:cubicBezTo>
                      <a:pt x="689" y="0"/>
                      <a:pt x="689" y="0"/>
                      <a:pt x="689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0" name="Freeform 31">
                <a:extLst>
                  <a:ext uri="{FF2B5EF4-FFF2-40B4-BE49-F238E27FC236}">
                    <a16:creationId xmlns:a16="http://schemas.microsoft.com/office/drawing/2014/main" id="{54BF959D-DD1F-4C1D-AF69-79BE914FCD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38605" y="1322833"/>
                <a:ext cx="251391" cy="278840"/>
              </a:xfrm>
              <a:custGeom>
                <a:avLst/>
                <a:gdLst>
                  <a:gd name="T0" fmla="*/ 174 w 776"/>
                  <a:gd name="T1" fmla="*/ 365 h 863"/>
                  <a:gd name="T2" fmla="*/ 174 w 776"/>
                  <a:gd name="T3" fmla="*/ 146 h 863"/>
                  <a:gd name="T4" fmla="*/ 310 w 776"/>
                  <a:gd name="T5" fmla="*/ 146 h 863"/>
                  <a:gd name="T6" fmla="*/ 437 w 776"/>
                  <a:gd name="T7" fmla="*/ 149 h 863"/>
                  <a:gd name="T8" fmla="*/ 503 w 776"/>
                  <a:gd name="T9" fmla="*/ 183 h 863"/>
                  <a:gd name="T10" fmla="*/ 526 w 776"/>
                  <a:gd name="T11" fmla="*/ 253 h 863"/>
                  <a:gd name="T12" fmla="*/ 508 w 776"/>
                  <a:gd name="T13" fmla="*/ 318 h 863"/>
                  <a:gd name="T14" fmla="*/ 460 w 776"/>
                  <a:gd name="T15" fmla="*/ 354 h 863"/>
                  <a:gd name="T16" fmla="*/ 303 w 776"/>
                  <a:gd name="T17" fmla="*/ 365 h 863"/>
                  <a:gd name="T18" fmla="*/ 174 w 776"/>
                  <a:gd name="T19" fmla="*/ 365 h 863"/>
                  <a:gd name="T20" fmla="*/ 367 w 776"/>
                  <a:gd name="T21" fmla="*/ 0 h 863"/>
                  <a:gd name="T22" fmla="*/ 0 w 776"/>
                  <a:gd name="T23" fmla="*/ 0 h 863"/>
                  <a:gd name="T24" fmla="*/ 0 w 776"/>
                  <a:gd name="T25" fmla="*/ 863 h 863"/>
                  <a:gd name="T26" fmla="*/ 174 w 776"/>
                  <a:gd name="T27" fmla="*/ 863 h 863"/>
                  <a:gd name="T28" fmla="*/ 174 w 776"/>
                  <a:gd name="T29" fmla="*/ 503 h 863"/>
                  <a:gd name="T30" fmla="*/ 209 w 776"/>
                  <a:gd name="T31" fmla="*/ 503 h 863"/>
                  <a:gd name="T32" fmla="*/ 297 w 776"/>
                  <a:gd name="T33" fmla="*/ 513 h 863"/>
                  <a:gd name="T34" fmla="*/ 349 w 776"/>
                  <a:gd name="T35" fmla="*/ 549 h 863"/>
                  <a:gd name="T36" fmla="*/ 441 w 776"/>
                  <a:gd name="T37" fmla="*/ 676 h 863"/>
                  <a:gd name="T38" fmla="*/ 567 w 776"/>
                  <a:gd name="T39" fmla="*/ 863 h 863"/>
                  <a:gd name="T40" fmla="*/ 776 w 776"/>
                  <a:gd name="T41" fmla="*/ 863 h 863"/>
                  <a:gd name="T42" fmla="*/ 670 w 776"/>
                  <a:gd name="T43" fmla="*/ 695 h 863"/>
                  <a:gd name="T44" fmla="*/ 571 w 776"/>
                  <a:gd name="T45" fmla="*/ 555 h 863"/>
                  <a:gd name="T46" fmla="*/ 478 w 776"/>
                  <a:gd name="T47" fmla="*/ 482 h 863"/>
                  <a:gd name="T48" fmla="*/ 649 w 776"/>
                  <a:gd name="T49" fmla="*/ 402 h 863"/>
                  <a:gd name="T50" fmla="*/ 706 w 776"/>
                  <a:gd name="T51" fmla="*/ 242 h 863"/>
                  <a:gd name="T52" fmla="*/ 668 w 776"/>
                  <a:gd name="T53" fmla="*/ 106 h 863"/>
                  <a:gd name="T54" fmla="*/ 568 w 776"/>
                  <a:gd name="T55" fmla="*/ 23 h 863"/>
                  <a:gd name="T56" fmla="*/ 367 w 776"/>
                  <a:gd name="T57" fmla="*/ 0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76" h="863">
                    <a:moveTo>
                      <a:pt x="174" y="365"/>
                    </a:moveTo>
                    <a:cubicBezTo>
                      <a:pt x="174" y="146"/>
                      <a:pt x="174" y="146"/>
                      <a:pt x="174" y="146"/>
                    </a:cubicBezTo>
                    <a:cubicBezTo>
                      <a:pt x="310" y="146"/>
                      <a:pt x="310" y="146"/>
                      <a:pt x="310" y="146"/>
                    </a:cubicBezTo>
                    <a:cubicBezTo>
                      <a:pt x="381" y="146"/>
                      <a:pt x="423" y="147"/>
                      <a:pt x="437" y="149"/>
                    </a:cubicBezTo>
                    <a:cubicBezTo>
                      <a:pt x="465" y="154"/>
                      <a:pt x="487" y="165"/>
                      <a:pt x="503" y="183"/>
                    </a:cubicBezTo>
                    <a:cubicBezTo>
                      <a:pt x="518" y="201"/>
                      <a:pt x="526" y="224"/>
                      <a:pt x="526" y="253"/>
                    </a:cubicBezTo>
                    <a:cubicBezTo>
                      <a:pt x="526" y="279"/>
                      <a:pt x="520" y="301"/>
                      <a:pt x="508" y="318"/>
                    </a:cubicBezTo>
                    <a:cubicBezTo>
                      <a:pt x="497" y="335"/>
                      <a:pt x="480" y="347"/>
                      <a:pt x="460" y="354"/>
                    </a:cubicBezTo>
                    <a:cubicBezTo>
                      <a:pt x="439" y="362"/>
                      <a:pt x="387" y="365"/>
                      <a:pt x="303" y="365"/>
                    </a:cubicBezTo>
                    <a:cubicBezTo>
                      <a:pt x="174" y="365"/>
                      <a:pt x="174" y="365"/>
                      <a:pt x="174" y="365"/>
                    </a:cubicBezTo>
                    <a:moveTo>
                      <a:pt x="36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63"/>
                      <a:pt x="0" y="863"/>
                      <a:pt x="0" y="863"/>
                    </a:cubicBezTo>
                    <a:cubicBezTo>
                      <a:pt x="174" y="863"/>
                      <a:pt x="174" y="863"/>
                      <a:pt x="174" y="863"/>
                    </a:cubicBezTo>
                    <a:cubicBezTo>
                      <a:pt x="174" y="503"/>
                      <a:pt x="174" y="503"/>
                      <a:pt x="174" y="503"/>
                    </a:cubicBezTo>
                    <a:cubicBezTo>
                      <a:pt x="209" y="503"/>
                      <a:pt x="209" y="503"/>
                      <a:pt x="209" y="503"/>
                    </a:cubicBezTo>
                    <a:cubicBezTo>
                      <a:pt x="249" y="503"/>
                      <a:pt x="279" y="506"/>
                      <a:pt x="297" y="513"/>
                    </a:cubicBezTo>
                    <a:cubicBezTo>
                      <a:pt x="316" y="519"/>
                      <a:pt x="333" y="531"/>
                      <a:pt x="349" y="549"/>
                    </a:cubicBezTo>
                    <a:cubicBezTo>
                      <a:pt x="366" y="566"/>
                      <a:pt x="397" y="608"/>
                      <a:pt x="441" y="676"/>
                    </a:cubicBezTo>
                    <a:cubicBezTo>
                      <a:pt x="567" y="863"/>
                      <a:pt x="567" y="863"/>
                      <a:pt x="567" y="863"/>
                    </a:cubicBezTo>
                    <a:cubicBezTo>
                      <a:pt x="776" y="863"/>
                      <a:pt x="776" y="863"/>
                      <a:pt x="776" y="863"/>
                    </a:cubicBezTo>
                    <a:cubicBezTo>
                      <a:pt x="670" y="695"/>
                      <a:pt x="670" y="695"/>
                      <a:pt x="670" y="695"/>
                    </a:cubicBezTo>
                    <a:cubicBezTo>
                      <a:pt x="629" y="628"/>
                      <a:pt x="596" y="581"/>
                      <a:pt x="571" y="555"/>
                    </a:cubicBezTo>
                    <a:cubicBezTo>
                      <a:pt x="547" y="528"/>
                      <a:pt x="516" y="504"/>
                      <a:pt x="478" y="482"/>
                    </a:cubicBezTo>
                    <a:cubicBezTo>
                      <a:pt x="554" y="471"/>
                      <a:pt x="611" y="445"/>
                      <a:pt x="649" y="402"/>
                    </a:cubicBezTo>
                    <a:cubicBezTo>
                      <a:pt x="687" y="360"/>
                      <a:pt x="706" y="307"/>
                      <a:pt x="706" y="242"/>
                    </a:cubicBezTo>
                    <a:cubicBezTo>
                      <a:pt x="706" y="191"/>
                      <a:pt x="693" y="146"/>
                      <a:pt x="668" y="106"/>
                    </a:cubicBezTo>
                    <a:cubicBezTo>
                      <a:pt x="643" y="66"/>
                      <a:pt x="610" y="39"/>
                      <a:pt x="568" y="23"/>
                    </a:cubicBezTo>
                    <a:cubicBezTo>
                      <a:pt x="526" y="8"/>
                      <a:pt x="459" y="0"/>
                      <a:pt x="36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1" name="Freeform 32">
                <a:extLst>
                  <a:ext uri="{FF2B5EF4-FFF2-40B4-BE49-F238E27FC236}">
                    <a16:creationId xmlns:a16="http://schemas.microsoft.com/office/drawing/2014/main" id="{DFA79A0F-03E2-40A1-A7AE-4276B9BB2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2758" y="1322833"/>
                <a:ext cx="212896" cy="278840"/>
              </a:xfrm>
              <a:custGeom>
                <a:avLst/>
                <a:gdLst>
                  <a:gd name="T0" fmla="*/ 620 w 636"/>
                  <a:gd name="T1" fmla="*/ 0 h 833"/>
                  <a:gd name="T2" fmla="*/ 0 w 636"/>
                  <a:gd name="T3" fmla="*/ 0 h 833"/>
                  <a:gd name="T4" fmla="*/ 0 w 636"/>
                  <a:gd name="T5" fmla="*/ 833 h 833"/>
                  <a:gd name="T6" fmla="*/ 636 w 636"/>
                  <a:gd name="T7" fmla="*/ 833 h 833"/>
                  <a:gd name="T8" fmla="*/ 636 w 636"/>
                  <a:gd name="T9" fmla="*/ 693 h 833"/>
                  <a:gd name="T10" fmla="*/ 168 w 636"/>
                  <a:gd name="T11" fmla="*/ 693 h 833"/>
                  <a:gd name="T12" fmla="*/ 168 w 636"/>
                  <a:gd name="T13" fmla="*/ 466 h 833"/>
                  <a:gd name="T14" fmla="*/ 589 w 636"/>
                  <a:gd name="T15" fmla="*/ 466 h 833"/>
                  <a:gd name="T16" fmla="*/ 589 w 636"/>
                  <a:gd name="T17" fmla="*/ 325 h 833"/>
                  <a:gd name="T18" fmla="*/ 168 w 636"/>
                  <a:gd name="T19" fmla="*/ 325 h 833"/>
                  <a:gd name="T20" fmla="*/ 168 w 636"/>
                  <a:gd name="T21" fmla="*/ 141 h 833"/>
                  <a:gd name="T22" fmla="*/ 620 w 636"/>
                  <a:gd name="T23" fmla="*/ 141 h 833"/>
                  <a:gd name="T24" fmla="*/ 620 w 636"/>
                  <a:gd name="T25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6" h="833">
                    <a:moveTo>
                      <a:pt x="620" y="0"/>
                    </a:moveTo>
                    <a:lnTo>
                      <a:pt x="0" y="0"/>
                    </a:lnTo>
                    <a:lnTo>
                      <a:pt x="0" y="833"/>
                    </a:lnTo>
                    <a:lnTo>
                      <a:pt x="636" y="833"/>
                    </a:lnTo>
                    <a:lnTo>
                      <a:pt x="636" y="693"/>
                    </a:lnTo>
                    <a:lnTo>
                      <a:pt x="168" y="693"/>
                    </a:lnTo>
                    <a:lnTo>
                      <a:pt x="168" y="466"/>
                    </a:lnTo>
                    <a:lnTo>
                      <a:pt x="589" y="466"/>
                    </a:lnTo>
                    <a:lnTo>
                      <a:pt x="589" y="325"/>
                    </a:lnTo>
                    <a:lnTo>
                      <a:pt x="168" y="325"/>
                    </a:lnTo>
                    <a:lnTo>
                      <a:pt x="168" y="141"/>
                    </a:lnTo>
                    <a:lnTo>
                      <a:pt x="620" y="141"/>
                    </a:lnTo>
                    <a:lnTo>
                      <a:pt x="62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22" name="Freeform 33">
                <a:extLst>
                  <a:ext uri="{FF2B5EF4-FFF2-40B4-BE49-F238E27FC236}">
                    <a16:creationId xmlns:a16="http://schemas.microsoft.com/office/drawing/2014/main" id="{A16D217F-B940-4438-B421-C7056DE71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2758" y="1322833"/>
                <a:ext cx="212896" cy="278840"/>
              </a:xfrm>
              <a:custGeom>
                <a:avLst/>
                <a:gdLst>
                  <a:gd name="T0" fmla="*/ 620 w 636"/>
                  <a:gd name="T1" fmla="*/ 0 h 833"/>
                  <a:gd name="T2" fmla="*/ 0 w 636"/>
                  <a:gd name="T3" fmla="*/ 0 h 833"/>
                  <a:gd name="T4" fmla="*/ 0 w 636"/>
                  <a:gd name="T5" fmla="*/ 833 h 833"/>
                  <a:gd name="T6" fmla="*/ 636 w 636"/>
                  <a:gd name="T7" fmla="*/ 833 h 833"/>
                  <a:gd name="T8" fmla="*/ 636 w 636"/>
                  <a:gd name="T9" fmla="*/ 693 h 833"/>
                  <a:gd name="T10" fmla="*/ 168 w 636"/>
                  <a:gd name="T11" fmla="*/ 693 h 833"/>
                  <a:gd name="T12" fmla="*/ 168 w 636"/>
                  <a:gd name="T13" fmla="*/ 466 h 833"/>
                  <a:gd name="T14" fmla="*/ 589 w 636"/>
                  <a:gd name="T15" fmla="*/ 466 h 833"/>
                  <a:gd name="T16" fmla="*/ 589 w 636"/>
                  <a:gd name="T17" fmla="*/ 325 h 833"/>
                  <a:gd name="T18" fmla="*/ 168 w 636"/>
                  <a:gd name="T19" fmla="*/ 325 h 833"/>
                  <a:gd name="T20" fmla="*/ 168 w 636"/>
                  <a:gd name="T21" fmla="*/ 141 h 833"/>
                  <a:gd name="T22" fmla="*/ 620 w 636"/>
                  <a:gd name="T23" fmla="*/ 141 h 833"/>
                  <a:gd name="T24" fmla="*/ 620 w 636"/>
                  <a:gd name="T25" fmla="*/ 0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6" h="833">
                    <a:moveTo>
                      <a:pt x="620" y="0"/>
                    </a:moveTo>
                    <a:lnTo>
                      <a:pt x="0" y="0"/>
                    </a:lnTo>
                    <a:lnTo>
                      <a:pt x="0" y="833"/>
                    </a:lnTo>
                    <a:lnTo>
                      <a:pt x="636" y="833"/>
                    </a:lnTo>
                    <a:lnTo>
                      <a:pt x="636" y="693"/>
                    </a:lnTo>
                    <a:lnTo>
                      <a:pt x="168" y="693"/>
                    </a:lnTo>
                    <a:lnTo>
                      <a:pt x="168" y="466"/>
                    </a:lnTo>
                    <a:lnTo>
                      <a:pt x="589" y="466"/>
                    </a:lnTo>
                    <a:lnTo>
                      <a:pt x="589" y="325"/>
                    </a:lnTo>
                    <a:lnTo>
                      <a:pt x="168" y="325"/>
                    </a:lnTo>
                    <a:lnTo>
                      <a:pt x="168" y="141"/>
                    </a:lnTo>
                    <a:lnTo>
                      <a:pt x="620" y="141"/>
                    </a:lnTo>
                    <a:lnTo>
                      <a:pt x="62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sp>
          <p:nvSpPr>
            <p:cNvPr id="195" name="Freeform 34">
              <a:extLst>
                <a:ext uri="{FF2B5EF4-FFF2-40B4-BE49-F238E27FC236}">
                  <a16:creationId xmlns:a16="http://schemas.microsoft.com/office/drawing/2014/main" id="{07C87266-594C-48A6-AFB3-945AF6353A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60116" y="160944"/>
              <a:ext cx="362526" cy="361186"/>
            </a:xfrm>
            <a:custGeom>
              <a:avLst/>
              <a:gdLst>
                <a:gd name="T0" fmla="*/ 1083 w 1083"/>
                <a:gd name="T1" fmla="*/ 1079 h 1079"/>
                <a:gd name="T2" fmla="*/ 1083 w 1083"/>
                <a:gd name="T3" fmla="*/ 0 h 1079"/>
                <a:gd name="T4" fmla="*/ 0 w 1083"/>
                <a:gd name="T5" fmla="*/ 0 h 1079"/>
                <a:gd name="T6" fmla="*/ 1083 w 1083"/>
                <a:gd name="T7" fmla="*/ 1079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3" h="1079">
                  <a:moveTo>
                    <a:pt x="1083" y="1079"/>
                  </a:moveTo>
                  <a:lnTo>
                    <a:pt x="1083" y="0"/>
                  </a:lnTo>
                  <a:lnTo>
                    <a:pt x="0" y="0"/>
                  </a:lnTo>
                  <a:lnTo>
                    <a:pt x="1083" y="107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pic>
        <p:nvPicPr>
          <p:cNvPr id="85" name="Image 84">
            <a:extLst>
              <a:ext uri="{FF2B5EF4-FFF2-40B4-BE49-F238E27FC236}">
                <a16:creationId xmlns:a16="http://schemas.microsoft.com/office/drawing/2014/main" id="{4D3A5629-7FB4-41AA-9215-C5636FFB884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605338"/>
            <a:ext cx="4736077" cy="1579610"/>
          </a:xfrm>
          <a:prstGeom prst="rect">
            <a:avLst/>
          </a:prstGeom>
        </p:spPr>
      </p:pic>
      <p:pic>
        <p:nvPicPr>
          <p:cNvPr id="2" name="Image 1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58233EDC-6272-7F68-872E-D739352049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8550" y="2688238"/>
            <a:ext cx="4647809" cy="1763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5619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29244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6" imgH="416" progId="TCLayout.ActiveDocument.1">
                  <p:embed/>
                </p:oleObj>
              </mc:Choice>
              <mc:Fallback>
                <p:oleObj name="think-cell Slide" r:id="rId10" imgW="416" imgH="416" progId="TCLayout.ActiveDocument.1">
                  <p:embed/>
                  <p:pic>
                    <p:nvPicPr>
                      <p:cNvPr id="6" name="Obje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Connecteur droit 70">
            <a:extLst>
              <a:ext uri="{FF2B5EF4-FFF2-40B4-BE49-F238E27FC236}">
                <a16:creationId xmlns:a16="http://schemas.microsoft.com/office/drawing/2014/main" id="{AE7B0086-2061-42E5-A591-11C7BA19A6A8}"/>
              </a:ext>
            </a:extLst>
          </p:cNvPr>
          <p:cNvCxnSpPr>
            <a:cxnSpLocks/>
          </p:cNvCxnSpPr>
          <p:nvPr userDrawn="1"/>
        </p:nvCxnSpPr>
        <p:spPr>
          <a:xfrm flipV="1">
            <a:off x="2473673" y="6598444"/>
            <a:ext cx="280856" cy="259556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303338" y="624422"/>
            <a:ext cx="10168662" cy="2616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endParaRPr lang="fr-FR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303338" y="1519200"/>
            <a:ext cx="10170000" cy="14568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2ECE9513-8BB2-4E14-95B9-8FA77C772F38}"/>
              </a:ext>
            </a:extLst>
          </p:cNvPr>
          <p:cNvSpPr txBox="1"/>
          <p:nvPr userDrawn="1"/>
        </p:nvSpPr>
        <p:spPr>
          <a:xfrm>
            <a:off x="2343655" y="6568671"/>
            <a:ext cx="24205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fld id="{6DF564E6-DEA2-479F-9CAE-057142A40433}" type="slidenum">
              <a:rPr lang="fr-FR" sz="105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‹N°›</a:t>
            </a:fld>
            <a:endParaRPr lang="fr-FR" sz="105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D549C140-214E-4301-82D8-CB485B247A8C}"/>
              </a:ext>
            </a:extLst>
          </p:cNvPr>
          <p:cNvGrpSpPr/>
          <p:nvPr userDrawn="1"/>
        </p:nvGrpSpPr>
        <p:grpSpPr>
          <a:xfrm>
            <a:off x="292862" y="6431760"/>
            <a:ext cx="1146601" cy="203907"/>
            <a:chOff x="292862" y="6431760"/>
            <a:chExt cx="1146601" cy="203907"/>
          </a:xfrm>
        </p:grpSpPr>
        <p:sp>
          <p:nvSpPr>
            <p:cNvPr id="81" name="ZoneTexte 80">
              <a:extLst>
                <a:ext uri="{FF2B5EF4-FFF2-40B4-BE49-F238E27FC236}">
                  <a16:creationId xmlns:a16="http://schemas.microsoft.com/office/drawing/2014/main" id="{D1BBD684-C8B1-43E9-B617-889C3346BB98}"/>
                </a:ext>
              </a:extLst>
            </p:cNvPr>
            <p:cNvSpPr txBox="1"/>
            <p:nvPr userDrawn="1"/>
          </p:nvSpPr>
          <p:spPr>
            <a:xfrm>
              <a:off x="1376945" y="6457921"/>
              <a:ext cx="62518" cy="78483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fr-FR" sz="600" cap="all" spc="50" baseline="0">
                  <a:solidFill>
                    <a:srgbClr val="231F20"/>
                  </a:solidFill>
                </a:rPr>
                <a:t>©</a:t>
              </a:r>
            </a:p>
          </p:txBody>
        </p:sp>
        <p:grpSp>
          <p:nvGrpSpPr>
            <p:cNvPr id="5" name="Groupe 4">
              <a:extLst>
                <a:ext uri="{FF2B5EF4-FFF2-40B4-BE49-F238E27FC236}">
                  <a16:creationId xmlns:a16="http://schemas.microsoft.com/office/drawing/2014/main" id="{F2182443-BD37-4123-AD9E-287BB9CF1BD6}"/>
                </a:ext>
              </a:extLst>
            </p:cNvPr>
            <p:cNvGrpSpPr/>
            <p:nvPr userDrawn="1"/>
          </p:nvGrpSpPr>
          <p:grpSpPr>
            <a:xfrm>
              <a:off x="292862" y="6431760"/>
              <a:ext cx="1097752" cy="203907"/>
              <a:chOff x="292862" y="6431760"/>
              <a:chExt cx="1097752" cy="203907"/>
            </a:xfrm>
          </p:grpSpPr>
          <p:grpSp>
            <p:nvGrpSpPr>
              <p:cNvPr id="60" name="Groupe 59">
                <a:extLst>
                  <a:ext uri="{FF2B5EF4-FFF2-40B4-BE49-F238E27FC236}">
                    <a16:creationId xmlns:a16="http://schemas.microsoft.com/office/drawing/2014/main" id="{31F5340C-C1B5-4D3C-ACE5-C22A012A0B19}"/>
                  </a:ext>
                </a:extLst>
              </p:cNvPr>
              <p:cNvGrpSpPr/>
              <p:nvPr userDrawn="1"/>
            </p:nvGrpSpPr>
            <p:grpSpPr>
              <a:xfrm>
                <a:off x="553652" y="6509135"/>
                <a:ext cx="836962" cy="126532"/>
                <a:chOff x="450830" y="6224624"/>
                <a:chExt cx="849743" cy="128464"/>
              </a:xfrm>
              <a:solidFill>
                <a:srgbClr val="231F20"/>
              </a:solidFill>
            </p:grpSpPr>
            <p:sp>
              <p:nvSpPr>
                <p:cNvPr id="24" name="Freeform 56">
                  <a:extLst>
                    <a:ext uri="{FF2B5EF4-FFF2-40B4-BE49-F238E27FC236}">
                      <a16:creationId xmlns:a16="http://schemas.microsoft.com/office/drawing/2014/main" id="{EC47E96C-9074-486A-998C-C4CF740153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0830" y="6224630"/>
                  <a:ext cx="138933" cy="128458"/>
                </a:xfrm>
                <a:custGeom>
                  <a:avLst/>
                  <a:gdLst>
                    <a:gd name="T0" fmla="*/ 775 w 1001"/>
                    <a:gd name="T1" fmla="*/ 0 h 928"/>
                    <a:gd name="T2" fmla="*/ 0 w 1001"/>
                    <a:gd name="T3" fmla="*/ 0 h 928"/>
                    <a:gd name="T4" fmla="*/ 0 w 1001"/>
                    <a:gd name="T5" fmla="*/ 928 h 928"/>
                    <a:gd name="T6" fmla="*/ 775 w 1001"/>
                    <a:gd name="T7" fmla="*/ 928 h 928"/>
                    <a:gd name="T8" fmla="*/ 934 w 1001"/>
                    <a:gd name="T9" fmla="*/ 862 h 928"/>
                    <a:gd name="T10" fmla="*/ 1001 w 1001"/>
                    <a:gd name="T11" fmla="*/ 702 h 928"/>
                    <a:gd name="T12" fmla="*/ 1001 w 1001"/>
                    <a:gd name="T13" fmla="*/ 226 h 928"/>
                    <a:gd name="T14" fmla="*/ 934 w 1001"/>
                    <a:gd name="T15" fmla="*/ 66 h 928"/>
                    <a:gd name="T16" fmla="*/ 775 w 1001"/>
                    <a:gd name="T17" fmla="*/ 0 h 928"/>
                    <a:gd name="T18" fmla="*/ 179 w 1001"/>
                    <a:gd name="T19" fmla="*/ 166 h 928"/>
                    <a:gd name="T20" fmla="*/ 747 w 1001"/>
                    <a:gd name="T21" fmla="*/ 166 h 928"/>
                    <a:gd name="T22" fmla="*/ 800 w 1001"/>
                    <a:gd name="T23" fmla="*/ 188 h 928"/>
                    <a:gd name="T24" fmla="*/ 822 w 1001"/>
                    <a:gd name="T25" fmla="*/ 241 h 928"/>
                    <a:gd name="T26" fmla="*/ 822 w 1001"/>
                    <a:gd name="T27" fmla="*/ 687 h 928"/>
                    <a:gd name="T28" fmla="*/ 801 w 1001"/>
                    <a:gd name="T29" fmla="*/ 740 h 928"/>
                    <a:gd name="T30" fmla="*/ 747 w 1001"/>
                    <a:gd name="T31" fmla="*/ 761 h 928"/>
                    <a:gd name="T32" fmla="*/ 179 w 1001"/>
                    <a:gd name="T33" fmla="*/ 761 h 928"/>
                    <a:gd name="T34" fmla="*/ 179 w 1001"/>
                    <a:gd name="T35" fmla="*/ 166 h 9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001" h="928">
                      <a:moveTo>
                        <a:pt x="77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928"/>
                        <a:pt x="0" y="928"/>
                        <a:pt x="0" y="928"/>
                      </a:cubicBezTo>
                      <a:cubicBezTo>
                        <a:pt x="775" y="928"/>
                        <a:pt x="775" y="928"/>
                        <a:pt x="775" y="928"/>
                      </a:cubicBezTo>
                      <a:cubicBezTo>
                        <a:pt x="836" y="928"/>
                        <a:pt x="890" y="906"/>
                        <a:pt x="934" y="862"/>
                      </a:cubicBezTo>
                      <a:cubicBezTo>
                        <a:pt x="978" y="818"/>
                        <a:pt x="1001" y="764"/>
                        <a:pt x="1001" y="702"/>
                      </a:cubicBezTo>
                      <a:cubicBezTo>
                        <a:pt x="1001" y="226"/>
                        <a:pt x="1001" y="226"/>
                        <a:pt x="1001" y="226"/>
                      </a:cubicBezTo>
                      <a:cubicBezTo>
                        <a:pt x="1001" y="164"/>
                        <a:pt x="978" y="110"/>
                        <a:pt x="934" y="66"/>
                      </a:cubicBezTo>
                      <a:cubicBezTo>
                        <a:pt x="890" y="22"/>
                        <a:pt x="836" y="0"/>
                        <a:pt x="775" y="0"/>
                      </a:cubicBezTo>
                      <a:close/>
                      <a:moveTo>
                        <a:pt x="179" y="166"/>
                      </a:moveTo>
                      <a:cubicBezTo>
                        <a:pt x="747" y="166"/>
                        <a:pt x="747" y="166"/>
                        <a:pt x="747" y="166"/>
                      </a:cubicBezTo>
                      <a:cubicBezTo>
                        <a:pt x="769" y="166"/>
                        <a:pt x="786" y="173"/>
                        <a:pt x="800" y="188"/>
                      </a:cubicBezTo>
                      <a:cubicBezTo>
                        <a:pt x="815" y="202"/>
                        <a:pt x="822" y="220"/>
                        <a:pt x="822" y="241"/>
                      </a:cubicBezTo>
                      <a:cubicBezTo>
                        <a:pt x="822" y="687"/>
                        <a:pt x="822" y="687"/>
                        <a:pt x="822" y="687"/>
                      </a:cubicBezTo>
                      <a:cubicBezTo>
                        <a:pt x="822" y="708"/>
                        <a:pt x="815" y="726"/>
                        <a:pt x="801" y="740"/>
                      </a:cubicBezTo>
                      <a:cubicBezTo>
                        <a:pt x="786" y="754"/>
                        <a:pt x="769" y="761"/>
                        <a:pt x="747" y="761"/>
                      </a:cubicBezTo>
                      <a:cubicBezTo>
                        <a:pt x="179" y="761"/>
                        <a:pt x="179" y="761"/>
                        <a:pt x="179" y="761"/>
                      </a:cubicBezTo>
                      <a:lnTo>
                        <a:pt x="179" y="1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25" name="Rectangle 57">
                  <a:extLst>
                    <a:ext uri="{FF2B5EF4-FFF2-40B4-BE49-F238E27FC236}">
                      <a16:creationId xmlns:a16="http://schemas.microsoft.com/office/drawing/2014/main" id="{86ADA92D-2E8F-4CCB-A333-43A08C9824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5512" y="6224630"/>
                  <a:ext cx="24877" cy="128458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26" name="Freeform 58">
                  <a:extLst>
                    <a:ext uri="{FF2B5EF4-FFF2-40B4-BE49-F238E27FC236}">
                      <a16:creationId xmlns:a16="http://schemas.microsoft.com/office/drawing/2014/main" id="{2733A59D-0DD1-418C-B51C-12E135BA73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3773" y="6224630"/>
                  <a:ext cx="157699" cy="128458"/>
                </a:xfrm>
                <a:custGeom>
                  <a:avLst/>
                  <a:gdLst>
                    <a:gd name="T0" fmla="*/ 457 w 1084"/>
                    <a:gd name="T1" fmla="*/ 0 h 883"/>
                    <a:gd name="T2" fmla="*/ 0 w 1084"/>
                    <a:gd name="T3" fmla="*/ 883 h 883"/>
                    <a:gd name="T4" fmla="*/ 191 w 1084"/>
                    <a:gd name="T5" fmla="*/ 883 h 883"/>
                    <a:gd name="T6" fmla="*/ 321 w 1084"/>
                    <a:gd name="T7" fmla="*/ 630 h 883"/>
                    <a:gd name="T8" fmla="*/ 763 w 1084"/>
                    <a:gd name="T9" fmla="*/ 630 h 883"/>
                    <a:gd name="T10" fmla="*/ 894 w 1084"/>
                    <a:gd name="T11" fmla="*/ 883 h 883"/>
                    <a:gd name="T12" fmla="*/ 1084 w 1084"/>
                    <a:gd name="T13" fmla="*/ 883 h 883"/>
                    <a:gd name="T14" fmla="*/ 627 w 1084"/>
                    <a:gd name="T15" fmla="*/ 0 h 883"/>
                    <a:gd name="T16" fmla="*/ 457 w 1084"/>
                    <a:gd name="T17" fmla="*/ 0 h 883"/>
                    <a:gd name="T18" fmla="*/ 678 w 1084"/>
                    <a:gd name="T19" fmla="*/ 469 h 883"/>
                    <a:gd name="T20" fmla="*/ 405 w 1084"/>
                    <a:gd name="T21" fmla="*/ 469 h 883"/>
                    <a:gd name="T22" fmla="*/ 542 w 1084"/>
                    <a:gd name="T23" fmla="*/ 205 h 883"/>
                    <a:gd name="T24" fmla="*/ 678 w 1084"/>
                    <a:gd name="T25" fmla="*/ 469 h 8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84" h="883">
                      <a:moveTo>
                        <a:pt x="457" y="0"/>
                      </a:moveTo>
                      <a:lnTo>
                        <a:pt x="0" y="883"/>
                      </a:lnTo>
                      <a:lnTo>
                        <a:pt x="191" y="883"/>
                      </a:lnTo>
                      <a:lnTo>
                        <a:pt x="321" y="630"/>
                      </a:lnTo>
                      <a:lnTo>
                        <a:pt x="763" y="630"/>
                      </a:lnTo>
                      <a:lnTo>
                        <a:pt x="894" y="883"/>
                      </a:lnTo>
                      <a:lnTo>
                        <a:pt x="1084" y="883"/>
                      </a:lnTo>
                      <a:lnTo>
                        <a:pt x="627" y="0"/>
                      </a:lnTo>
                      <a:lnTo>
                        <a:pt x="457" y="0"/>
                      </a:lnTo>
                      <a:close/>
                      <a:moveTo>
                        <a:pt x="678" y="469"/>
                      </a:moveTo>
                      <a:lnTo>
                        <a:pt x="405" y="469"/>
                      </a:lnTo>
                      <a:lnTo>
                        <a:pt x="542" y="205"/>
                      </a:lnTo>
                      <a:lnTo>
                        <a:pt x="678" y="46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27" name="Freeform 59">
                  <a:extLst>
                    <a:ext uri="{FF2B5EF4-FFF2-40B4-BE49-F238E27FC236}">
                      <a16:creationId xmlns:a16="http://schemas.microsoft.com/office/drawing/2014/main" id="{99379567-1FF4-4558-945F-DD4C8A8DB3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9038" y="6224630"/>
                  <a:ext cx="132968" cy="128458"/>
                </a:xfrm>
                <a:custGeom>
                  <a:avLst/>
                  <a:gdLst>
                    <a:gd name="T0" fmla="*/ 427 w 958"/>
                    <a:gd name="T1" fmla="*/ 528 h 928"/>
                    <a:gd name="T2" fmla="*/ 778 w 958"/>
                    <a:gd name="T3" fmla="*/ 528 h 928"/>
                    <a:gd name="T4" fmla="*/ 778 w 958"/>
                    <a:gd name="T5" fmla="*/ 687 h 928"/>
                    <a:gd name="T6" fmla="*/ 757 w 958"/>
                    <a:gd name="T7" fmla="*/ 740 h 928"/>
                    <a:gd name="T8" fmla="*/ 703 w 958"/>
                    <a:gd name="T9" fmla="*/ 761 h 928"/>
                    <a:gd name="T10" fmla="*/ 253 w 958"/>
                    <a:gd name="T11" fmla="*/ 761 h 928"/>
                    <a:gd name="T12" fmla="*/ 199 w 958"/>
                    <a:gd name="T13" fmla="*/ 740 h 928"/>
                    <a:gd name="T14" fmla="*/ 179 w 958"/>
                    <a:gd name="T15" fmla="*/ 687 h 928"/>
                    <a:gd name="T16" fmla="*/ 179 w 958"/>
                    <a:gd name="T17" fmla="*/ 241 h 928"/>
                    <a:gd name="T18" fmla="*/ 199 w 958"/>
                    <a:gd name="T19" fmla="*/ 187 h 928"/>
                    <a:gd name="T20" fmla="*/ 253 w 958"/>
                    <a:gd name="T21" fmla="*/ 166 h 928"/>
                    <a:gd name="T22" fmla="*/ 897 w 958"/>
                    <a:gd name="T23" fmla="*/ 166 h 928"/>
                    <a:gd name="T24" fmla="*/ 897 w 958"/>
                    <a:gd name="T25" fmla="*/ 0 h 928"/>
                    <a:gd name="T26" fmla="*/ 225 w 958"/>
                    <a:gd name="T27" fmla="*/ 0 h 928"/>
                    <a:gd name="T28" fmla="*/ 66 w 958"/>
                    <a:gd name="T29" fmla="*/ 66 h 928"/>
                    <a:gd name="T30" fmla="*/ 0 w 958"/>
                    <a:gd name="T31" fmla="*/ 226 h 928"/>
                    <a:gd name="T32" fmla="*/ 0 w 958"/>
                    <a:gd name="T33" fmla="*/ 703 h 928"/>
                    <a:gd name="T34" fmla="*/ 66 w 958"/>
                    <a:gd name="T35" fmla="*/ 862 h 928"/>
                    <a:gd name="T36" fmla="*/ 225 w 958"/>
                    <a:gd name="T37" fmla="*/ 928 h 928"/>
                    <a:gd name="T38" fmla="*/ 731 w 958"/>
                    <a:gd name="T39" fmla="*/ 928 h 928"/>
                    <a:gd name="T40" fmla="*/ 891 w 958"/>
                    <a:gd name="T41" fmla="*/ 862 h 928"/>
                    <a:gd name="T42" fmla="*/ 958 w 958"/>
                    <a:gd name="T43" fmla="*/ 703 h 928"/>
                    <a:gd name="T44" fmla="*/ 958 w 958"/>
                    <a:gd name="T45" fmla="*/ 362 h 928"/>
                    <a:gd name="T46" fmla="*/ 427 w 958"/>
                    <a:gd name="T47" fmla="*/ 362 h 928"/>
                    <a:gd name="T48" fmla="*/ 427 w 958"/>
                    <a:gd name="T49" fmla="*/ 528 h 9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958" h="928">
                      <a:moveTo>
                        <a:pt x="427" y="528"/>
                      </a:moveTo>
                      <a:cubicBezTo>
                        <a:pt x="778" y="528"/>
                        <a:pt x="778" y="528"/>
                        <a:pt x="778" y="528"/>
                      </a:cubicBezTo>
                      <a:cubicBezTo>
                        <a:pt x="778" y="687"/>
                        <a:pt x="778" y="687"/>
                        <a:pt x="778" y="687"/>
                      </a:cubicBezTo>
                      <a:cubicBezTo>
                        <a:pt x="778" y="708"/>
                        <a:pt x="772" y="726"/>
                        <a:pt x="757" y="740"/>
                      </a:cubicBezTo>
                      <a:cubicBezTo>
                        <a:pt x="743" y="754"/>
                        <a:pt x="725" y="761"/>
                        <a:pt x="703" y="761"/>
                      </a:cubicBezTo>
                      <a:cubicBezTo>
                        <a:pt x="253" y="761"/>
                        <a:pt x="253" y="761"/>
                        <a:pt x="253" y="761"/>
                      </a:cubicBezTo>
                      <a:cubicBezTo>
                        <a:pt x="231" y="761"/>
                        <a:pt x="213" y="754"/>
                        <a:pt x="199" y="740"/>
                      </a:cubicBezTo>
                      <a:cubicBezTo>
                        <a:pt x="185" y="726"/>
                        <a:pt x="179" y="709"/>
                        <a:pt x="179" y="687"/>
                      </a:cubicBezTo>
                      <a:cubicBezTo>
                        <a:pt x="179" y="241"/>
                        <a:pt x="179" y="241"/>
                        <a:pt x="179" y="241"/>
                      </a:cubicBezTo>
                      <a:cubicBezTo>
                        <a:pt x="179" y="219"/>
                        <a:pt x="185" y="201"/>
                        <a:pt x="199" y="187"/>
                      </a:cubicBezTo>
                      <a:cubicBezTo>
                        <a:pt x="213" y="173"/>
                        <a:pt x="231" y="166"/>
                        <a:pt x="253" y="166"/>
                      </a:cubicBezTo>
                      <a:cubicBezTo>
                        <a:pt x="897" y="166"/>
                        <a:pt x="897" y="166"/>
                        <a:pt x="897" y="166"/>
                      </a:cubicBezTo>
                      <a:cubicBezTo>
                        <a:pt x="897" y="0"/>
                        <a:pt x="897" y="0"/>
                        <a:pt x="897" y="0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163" y="0"/>
                        <a:pt x="110" y="22"/>
                        <a:pt x="66" y="66"/>
                      </a:cubicBezTo>
                      <a:cubicBezTo>
                        <a:pt x="22" y="110"/>
                        <a:pt x="0" y="164"/>
                        <a:pt x="0" y="226"/>
                      </a:cubicBezTo>
                      <a:cubicBezTo>
                        <a:pt x="0" y="703"/>
                        <a:pt x="0" y="703"/>
                        <a:pt x="0" y="703"/>
                      </a:cubicBezTo>
                      <a:cubicBezTo>
                        <a:pt x="0" y="765"/>
                        <a:pt x="22" y="819"/>
                        <a:pt x="66" y="862"/>
                      </a:cubicBezTo>
                      <a:cubicBezTo>
                        <a:pt x="110" y="906"/>
                        <a:pt x="163" y="928"/>
                        <a:pt x="225" y="928"/>
                      </a:cubicBezTo>
                      <a:cubicBezTo>
                        <a:pt x="731" y="928"/>
                        <a:pt x="731" y="928"/>
                        <a:pt x="731" y="928"/>
                      </a:cubicBezTo>
                      <a:cubicBezTo>
                        <a:pt x="793" y="928"/>
                        <a:pt x="847" y="906"/>
                        <a:pt x="891" y="862"/>
                      </a:cubicBezTo>
                      <a:cubicBezTo>
                        <a:pt x="935" y="819"/>
                        <a:pt x="958" y="765"/>
                        <a:pt x="958" y="703"/>
                      </a:cubicBezTo>
                      <a:cubicBezTo>
                        <a:pt x="958" y="362"/>
                        <a:pt x="958" y="362"/>
                        <a:pt x="958" y="362"/>
                      </a:cubicBezTo>
                      <a:cubicBezTo>
                        <a:pt x="427" y="362"/>
                        <a:pt x="427" y="362"/>
                        <a:pt x="427" y="362"/>
                      </a:cubicBezTo>
                      <a:lnTo>
                        <a:pt x="427" y="52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28" name="Freeform 60">
                  <a:extLst>
                    <a:ext uri="{FF2B5EF4-FFF2-40B4-BE49-F238E27FC236}">
                      <a16:creationId xmlns:a16="http://schemas.microsoft.com/office/drawing/2014/main" id="{EAAF904A-8A0D-4353-8B7C-52E7B2A065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72809" y="6224624"/>
                  <a:ext cx="161627" cy="128458"/>
                </a:xfrm>
                <a:custGeom>
                  <a:avLst/>
                  <a:gdLst>
                    <a:gd name="T0" fmla="*/ 556 w 1111"/>
                    <a:gd name="T1" fmla="*/ 656 h 883"/>
                    <a:gd name="T2" fmla="*/ 140 w 1111"/>
                    <a:gd name="T3" fmla="*/ 0 h 883"/>
                    <a:gd name="T4" fmla="*/ 0 w 1111"/>
                    <a:gd name="T5" fmla="*/ 0 h 883"/>
                    <a:gd name="T6" fmla="*/ 0 w 1111"/>
                    <a:gd name="T7" fmla="*/ 883 h 883"/>
                    <a:gd name="T8" fmla="*/ 171 w 1111"/>
                    <a:gd name="T9" fmla="*/ 883 h 883"/>
                    <a:gd name="T10" fmla="*/ 171 w 1111"/>
                    <a:gd name="T11" fmla="*/ 369 h 883"/>
                    <a:gd name="T12" fmla="*/ 488 w 1111"/>
                    <a:gd name="T13" fmla="*/ 863 h 883"/>
                    <a:gd name="T14" fmla="*/ 624 w 1111"/>
                    <a:gd name="T15" fmla="*/ 863 h 883"/>
                    <a:gd name="T16" fmla="*/ 940 w 1111"/>
                    <a:gd name="T17" fmla="*/ 369 h 883"/>
                    <a:gd name="T18" fmla="*/ 940 w 1111"/>
                    <a:gd name="T19" fmla="*/ 883 h 883"/>
                    <a:gd name="T20" fmla="*/ 1111 w 1111"/>
                    <a:gd name="T21" fmla="*/ 883 h 883"/>
                    <a:gd name="T22" fmla="*/ 1111 w 1111"/>
                    <a:gd name="T23" fmla="*/ 0 h 883"/>
                    <a:gd name="T24" fmla="*/ 971 w 1111"/>
                    <a:gd name="T25" fmla="*/ 0 h 883"/>
                    <a:gd name="T26" fmla="*/ 556 w 1111"/>
                    <a:gd name="T27" fmla="*/ 656 h 8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11" h="883">
                      <a:moveTo>
                        <a:pt x="556" y="656"/>
                      </a:moveTo>
                      <a:lnTo>
                        <a:pt x="140" y="0"/>
                      </a:lnTo>
                      <a:lnTo>
                        <a:pt x="0" y="0"/>
                      </a:lnTo>
                      <a:lnTo>
                        <a:pt x="0" y="883"/>
                      </a:lnTo>
                      <a:lnTo>
                        <a:pt x="171" y="883"/>
                      </a:lnTo>
                      <a:lnTo>
                        <a:pt x="171" y="369"/>
                      </a:lnTo>
                      <a:lnTo>
                        <a:pt x="488" y="863"/>
                      </a:lnTo>
                      <a:lnTo>
                        <a:pt x="624" y="863"/>
                      </a:lnTo>
                      <a:lnTo>
                        <a:pt x="940" y="369"/>
                      </a:lnTo>
                      <a:lnTo>
                        <a:pt x="940" y="883"/>
                      </a:lnTo>
                      <a:lnTo>
                        <a:pt x="1111" y="883"/>
                      </a:lnTo>
                      <a:lnTo>
                        <a:pt x="1111" y="0"/>
                      </a:lnTo>
                      <a:lnTo>
                        <a:pt x="971" y="0"/>
                      </a:lnTo>
                      <a:lnTo>
                        <a:pt x="556" y="6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29" name="Freeform 61">
                  <a:extLst>
                    <a:ext uri="{FF2B5EF4-FFF2-40B4-BE49-F238E27FC236}">
                      <a16:creationId xmlns:a16="http://schemas.microsoft.com/office/drawing/2014/main" id="{C79D6EB0-1A50-4519-8384-FDE8D3EFACE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42874" y="6224630"/>
                  <a:ext cx="157699" cy="128458"/>
                </a:xfrm>
                <a:custGeom>
                  <a:avLst/>
                  <a:gdLst>
                    <a:gd name="T0" fmla="*/ 628 w 1084"/>
                    <a:gd name="T1" fmla="*/ 0 h 883"/>
                    <a:gd name="T2" fmla="*/ 457 w 1084"/>
                    <a:gd name="T3" fmla="*/ 0 h 883"/>
                    <a:gd name="T4" fmla="*/ 0 w 1084"/>
                    <a:gd name="T5" fmla="*/ 883 h 883"/>
                    <a:gd name="T6" fmla="*/ 192 w 1084"/>
                    <a:gd name="T7" fmla="*/ 883 h 883"/>
                    <a:gd name="T8" fmla="*/ 322 w 1084"/>
                    <a:gd name="T9" fmla="*/ 630 h 883"/>
                    <a:gd name="T10" fmla="*/ 763 w 1084"/>
                    <a:gd name="T11" fmla="*/ 630 h 883"/>
                    <a:gd name="T12" fmla="*/ 893 w 1084"/>
                    <a:gd name="T13" fmla="*/ 883 h 883"/>
                    <a:gd name="T14" fmla="*/ 1084 w 1084"/>
                    <a:gd name="T15" fmla="*/ 883 h 883"/>
                    <a:gd name="T16" fmla="*/ 628 w 1084"/>
                    <a:gd name="T17" fmla="*/ 0 h 883"/>
                    <a:gd name="T18" fmla="*/ 678 w 1084"/>
                    <a:gd name="T19" fmla="*/ 469 h 883"/>
                    <a:gd name="T20" fmla="*/ 406 w 1084"/>
                    <a:gd name="T21" fmla="*/ 469 h 883"/>
                    <a:gd name="T22" fmla="*/ 542 w 1084"/>
                    <a:gd name="T23" fmla="*/ 205 h 883"/>
                    <a:gd name="T24" fmla="*/ 678 w 1084"/>
                    <a:gd name="T25" fmla="*/ 469 h 8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84" h="883">
                      <a:moveTo>
                        <a:pt x="628" y="0"/>
                      </a:moveTo>
                      <a:lnTo>
                        <a:pt x="457" y="0"/>
                      </a:lnTo>
                      <a:lnTo>
                        <a:pt x="0" y="883"/>
                      </a:lnTo>
                      <a:lnTo>
                        <a:pt x="192" y="883"/>
                      </a:lnTo>
                      <a:lnTo>
                        <a:pt x="322" y="630"/>
                      </a:lnTo>
                      <a:lnTo>
                        <a:pt x="763" y="630"/>
                      </a:lnTo>
                      <a:lnTo>
                        <a:pt x="893" y="883"/>
                      </a:lnTo>
                      <a:lnTo>
                        <a:pt x="1084" y="883"/>
                      </a:lnTo>
                      <a:lnTo>
                        <a:pt x="628" y="0"/>
                      </a:lnTo>
                      <a:close/>
                      <a:moveTo>
                        <a:pt x="678" y="469"/>
                      </a:moveTo>
                      <a:lnTo>
                        <a:pt x="406" y="469"/>
                      </a:lnTo>
                      <a:lnTo>
                        <a:pt x="542" y="205"/>
                      </a:lnTo>
                      <a:lnTo>
                        <a:pt x="678" y="46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grpSp>
            <p:nvGrpSpPr>
              <p:cNvPr id="4" name="Groupe 3">
                <a:extLst>
                  <a:ext uri="{FF2B5EF4-FFF2-40B4-BE49-F238E27FC236}">
                    <a16:creationId xmlns:a16="http://schemas.microsoft.com/office/drawing/2014/main" id="{81CDA7DA-0DEF-4805-8A50-D7C91C280246}"/>
                  </a:ext>
                </a:extLst>
              </p:cNvPr>
              <p:cNvGrpSpPr/>
              <p:nvPr userDrawn="1"/>
            </p:nvGrpSpPr>
            <p:grpSpPr>
              <a:xfrm>
                <a:off x="292862" y="6431760"/>
                <a:ext cx="309224" cy="154181"/>
                <a:chOff x="281789" y="6431760"/>
                <a:chExt cx="309224" cy="154181"/>
              </a:xfrm>
            </p:grpSpPr>
            <p:sp>
              <p:nvSpPr>
                <p:cNvPr id="33" name="Freeform 62">
                  <a:extLst>
                    <a:ext uri="{FF2B5EF4-FFF2-40B4-BE49-F238E27FC236}">
                      <a16:creationId xmlns:a16="http://schemas.microsoft.com/office/drawing/2014/main" id="{55C9B573-3E80-4D34-B3F2-8763C5645B1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436401" y="6508707"/>
                  <a:ext cx="77234" cy="77234"/>
                </a:xfrm>
                <a:custGeom>
                  <a:avLst/>
                  <a:gdLst>
                    <a:gd name="T0" fmla="*/ 0 w 539"/>
                    <a:gd name="T1" fmla="*/ 539 h 539"/>
                    <a:gd name="T2" fmla="*/ 0 w 539"/>
                    <a:gd name="T3" fmla="*/ 0 h 539"/>
                    <a:gd name="T4" fmla="*/ 539 w 539"/>
                    <a:gd name="T5" fmla="*/ 0 h 539"/>
                    <a:gd name="T6" fmla="*/ 0 w 539"/>
                    <a:gd name="T7" fmla="*/ 539 h 5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39" h="539">
                      <a:moveTo>
                        <a:pt x="0" y="539"/>
                      </a:moveTo>
                      <a:lnTo>
                        <a:pt x="0" y="0"/>
                      </a:lnTo>
                      <a:lnTo>
                        <a:pt x="539" y="0"/>
                      </a:lnTo>
                      <a:lnTo>
                        <a:pt x="0" y="539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34" name="Freeform 64">
                  <a:extLst>
                    <a:ext uri="{FF2B5EF4-FFF2-40B4-BE49-F238E27FC236}">
                      <a16:creationId xmlns:a16="http://schemas.microsoft.com/office/drawing/2014/main" id="{0AC6F401-E7E7-489E-B499-0AA295EAE8C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1789" y="6508707"/>
                  <a:ext cx="154612" cy="77234"/>
                </a:xfrm>
                <a:custGeom>
                  <a:avLst/>
                  <a:gdLst>
                    <a:gd name="T0" fmla="*/ 539 w 1079"/>
                    <a:gd name="T1" fmla="*/ 0 h 539"/>
                    <a:gd name="T2" fmla="*/ 0 w 1079"/>
                    <a:gd name="T3" fmla="*/ 539 h 539"/>
                    <a:gd name="T4" fmla="*/ 1079 w 1079"/>
                    <a:gd name="T5" fmla="*/ 539 h 539"/>
                    <a:gd name="T6" fmla="*/ 539 w 1079"/>
                    <a:gd name="T7" fmla="*/ 0 h 5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79" h="539">
                      <a:moveTo>
                        <a:pt x="539" y="0"/>
                      </a:moveTo>
                      <a:lnTo>
                        <a:pt x="0" y="539"/>
                      </a:lnTo>
                      <a:lnTo>
                        <a:pt x="1079" y="539"/>
                      </a:lnTo>
                      <a:lnTo>
                        <a:pt x="539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35" name="Freeform 66">
                  <a:extLst>
                    <a:ext uri="{FF2B5EF4-FFF2-40B4-BE49-F238E27FC236}">
                      <a16:creationId xmlns:a16="http://schemas.microsoft.com/office/drawing/2014/main" id="{51948565-D4B2-4282-91A3-B6A0E43987A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359023" y="6508707"/>
                  <a:ext cx="77377" cy="77234"/>
                </a:xfrm>
                <a:custGeom>
                  <a:avLst/>
                  <a:gdLst>
                    <a:gd name="T0" fmla="*/ 540 w 540"/>
                    <a:gd name="T1" fmla="*/ 0 h 539"/>
                    <a:gd name="T2" fmla="*/ 0 w 540"/>
                    <a:gd name="T3" fmla="*/ 0 h 539"/>
                    <a:gd name="T4" fmla="*/ 540 w 540"/>
                    <a:gd name="T5" fmla="*/ 539 h 539"/>
                    <a:gd name="T6" fmla="*/ 540 w 540"/>
                    <a:gd name="T7" fmla="*/ 0 h 5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0" h="539">
                      <a:moveTo>
                        <a:pt x="540" y="0"/>
                      </a:moveTo>
                      <a:lnTo>
                        <a:pt x="0" y="0"/>
                      </a:lnTo>
                      <a:lnTo>
                        <a:pt x="540" y="539"/>
                      </a:lnTo>
                      <a:lnTo>
                        <a:pt x="540" y="0"/>
                      </a:lnTo>
                      <a:close/>
                    </a:path>
                  </a:pathLst>
                </a:custGeom>
                <a:solidFill>
                  <a:srgbClr val="A0B4C8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36" name="Freeform 68">
                  <a:extLst>
                    <a:ext uri="{FF2B5EF4-FFF2-40B4-BE49-F238E27FC236}">
                      <a16:creationId xmlns:a16="http://schemas.microsoft.com/office/drawing/2014/main" id="{DE9D270E-726A-434B-B7D0-78FA2ED87FE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359023" y="6431760"/>
                  <a:ext cx="77377" cy="76947"/>
                </a:xfrm>
                <a:custGeom>
                  <a:avLst/>
                  <a:gdLst>
                    <a:gd name="T0" fmla="*/ 540 w 540"/>
                    <a:gd name="T1" fmla="*/ 0 h 537"/>
                    <a:gd name="T2" fmla="*/ 0 w 540"/>
                    <a:gd name="T3" fmla="*/ 537 h 537"/>
                    <a:gd name="T4" fmla="*/ 540 w 540"/>
                    <a:gd name="T5" fmla="*/ 537 h 537"/>
                    <a:gd name="T6" fmla="*/ 540 w 540"/>
                    <a:gd name="T7" fmla="*/ 0 h 5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40" h="537">
                      <a:moveTo>
                        <a:pt x="540" y="0"/>
                      </a:moveTo>
                      <a:lnTo>
                        <a:pt x="0" y="537"/>
                      </a:lnTo>
                      <a:lnTo>
                        <a:pt x="540" y="537"/>
                      </a:lnTo>
                      <a:lnTo>
                        <a:pt x="540" y="0"/>
                      </a:lnTo>
                      <a:close/>
                    </a:path>
                  </a:pathLst>
                </a:custGeom>
                <a:solidFill>
                  <a:srgbClr val="C9D5E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37" name="Freeform 70">
                  <a:extLst>
                    <a:ext uri="{FF2B5EF4-FFF2-40B4-BE49-F238E27FC236}">
                      <a16:creationId xmlns:a16="http://schemas.microsoft.com/office/drawing/2014/main" id="{5BC240D7-8BEF-4782-80D8-714AB209073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436401" y="6431760"/>
                  <a:ext cx="154612" cy="76947"/>
                </a:xfrm>
                <a:custGeom>
                  <a:avLst/>
                  <a:gdLst>
                    <a:gd name="T0" fmla="*/ 1079 w 1079"/>
                    <a:gd name="T1" fmla="*/ 0 h 537"/>
                    <a:gd name="T2" fmla="*/ 0 w 1079"/>
                    <a:gd name="T3" fmla="*/ 0 h 537"/>
                    <a:gd name="T4" fmla="*/ 539 w 1079"/>
                    <a:gd name="T5" fmla="*/ 537 h 537"/>
                    <a:gd name="T6" fmla="*/ 1079 w 1079"/>
                    <a:gd name="T7" fmla="*/ 0 h 5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79" h="537">
                      <a:moveTo>
                        <a:pt x="1079" y="0"/>
                      </a:moveTo>
                      <a:lnTo>
                        <a:pt x="0" y="0"/>
                      </a:lnTo>
                      <a:lnTo>
                        <a:pt x="539" y="537"/>
                      </a:lnTo>
                      <a:lnTo>
                        <a:pt x="1079" y="0"/>
                      </a:lnTo>
                      <a:close/>
                    </a:path>
                  </a:pathLst>
                </a:custGeom>
                <a:solidFill>
                  <a:srgbClr val="849EB9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38" name="Freeform 72">
                  <a:extLst>
                    <a:ext uri="{FF2B5EF4-FFF2-40B4-BE49-F238E27FC236}">
                      <a16:creationId xmlns:a16="http://schemas.microsoft.com/office/drawing/2014/main" id="{18406B5A-600C-43F1-9FF3-06C475072A3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436401" y="6431760"/>
                  <a:ext cx="77234" cy="76947"/>
                </a:xfrm>
                <a:custGeom>
                  <a:avLst/>
                  <a:gdLst>
                    <a:gd name="T0" fmla="*/ 0 w 539"/>
                    <a:gd name="T1" fmla="*/ 0 h 537"/>
                    <a:gd name="T2" fmla="*/ 0 w 539"/>
                    <a:gd name="T3" fmla="*/ 537 h 537"/>
                    <a:gd name="T4" fmla="*/ 539 w 539"/>
                    <a:gd name="T5" fmla="*/ 537 h 537"/>
                    <a:gd name="T6" fmla="*/ 0 w 539"/>
                    <a:gd name="T7" fmla="*/ 0 h 5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39" h="537">
                      <a:moveTo>
                        <a:pt x="0" y="0"/>
                      </a:moveTo>
                      <a:lnTo>
                        <a:pt x="0" y="537"/>
                      </a:lnTo>
                      <a:lnTo>
                        <a:pt x="539" y="53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4F6F9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039787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51" r:id="rId3"/>
    <p:sldLayoutId id="2147484049" r:id="rId4"/>
    <p:sldLayoutId id="2147484053" r:id="rId5"/>
    <p:sldLayoutId id="2147484052" r:id="rId6"/>
    <p:sldLayoutId id="2147483700" r:id="rId7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sldNum="0" hdr="0" dt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2000" b="1" kern="1200" cap="all" baseline="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800"/>
        </a:spcBef>
        <a:spcAft>
          <a:spcPts val="1200"/>
        </a:spcAft>
        <a:buFont typeface="Arial" panose="020B0604020202020204" pitchFamily="34" charset="0"/>
        <a:buNone/>
        <a:defRPr sz="16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77800" indent="-177800" algn="l" defTabSz="685800" rtl="0" eaLnBrk="1" latinLnBrk="0" hangingPunct="1">
        <a:lnSpc>
          <a:spcPct val="100000"/>
        </a:lnSpc>
        <a:spcBef>
          <a:spcPts val="600"/>
        </a:spcBef>
        <a:buClrTx/>
        <a:buSzPct val="90000"/>
        <a:buFontTx/>
        <a:buBlip>
          <a:blip r:embed="rId12"/>
        </a:buBlip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42900" indent="-165100" algn="l" defTabSz="6858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−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482600" indent="-139700" algn="l" defTabSz="685800" rtl="0" eaLnBrk="1" latinLnBrk="0" hangingPunct="1">
        <a:lnSpc>
          <a:spcPct val="100000"/>
        </a:lnSpc>
        <a:spcBef>
          <a:spcPts val="400"/>
        </a:spcBef>
        <a:buFont typeface="Wingdings" panose="05000000000000000000" pitchFamily="2" charset="2"/>
        <a:buChar char="§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orient="horz" pos="3818" userDrawn="1">
          <p15:clr>
            <a:srgbClr val="A4A3A4"/>
          </p15:clr>
        </p15:guide>
        <p15:guide id="7" pos="3872" userDrawn="1">
          <p15:clr>
            <a:srgbClr val="A4A3A4"/>
          </p15:clr>
        </p15:guide>
        <p15:guide id="8" pos="4175" userDrawn="1">
          <p15:clr>
            <a:srgbClr val="A4A3A4"/>
          </p15:clr>
        </p15:guide>
        <p15:guide id="9" pos="7226" userDrawn="1">
          <p15:clr>
            <a:srgbClr val="A4A3A4"/>
          </p15:clr>
        </p15:guide>
        <p15:guide id="10" pos="452" userDrawn="1">
          <p15:clr>
            <a:srgbClr val="A4A3A4"/>
          </p15:clr>
        </p15:guide>
        <p15:guide id="11" pos="821" userDrawn="1">
          <p15:clr>
            <a:srgbClr val="A4A3A4"/>
          </p15:clr>
        </p15:guide>
        <p15:guide id="12" pos="1188" userDrawn="1">
          <p15:clr>
            <a:srgbClr val="A4A3A4"/>
          </p15:clr>
        </p15:guide>
        <p15:guide id="13" orient="horz" pos="98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Relationship Id="rId9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28.jpeg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pn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0BA04494-54E1-E480-A4CF-61E5153715C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7813" y="2128665"/>
            <a:ext cx="4229579" cy="1604549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79F7DE82-DD72-3411-A2CE-6E02279E4A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8817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3" progId="TCLayout.ActiveDocument.1">
                  <p:embed/>
                </p:oleObj>
              </mc:Choice>
              <mc:Fallback>
                <p:oleObj name="think-cell Slide" r:id="rId4" imgW="423" imgH="423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79F7DE82-DD72-3411-A2CE-6E02279E4A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16458C8-8200-1754-A2DF-621A275F422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556961" y="6443569"/>
            <a:ext cx="1009892" cy="169277"/>
          </a:xfrm>
        </p:spPr>
        <p:txBody>
          <a:bodyPr/>
          <a:lstStyle/>
          <a:p>
            <a:r>
              <a:rPr lang="fr-FR"/>
              <a:t>June 20th, 2023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B9B7085-FA8A-D185-7DEE-EF3D77AFB31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776983" y="6457680"/>
            <a:ext cx="1102866" cy="138499"/>
          </a:xfrm>
        </p:spPr>
        <p:txBody>
          <a:bodyPr/>
          <a:lstStyle/>
          <a:p>
            <a:r>
              <a:rPr lang="fr-FR" err="1"/>
              <a:t>Ref</a:t>
            </a:r>
            <a:r>
              <a:rPr lang="fr-FR"/>
              <a:t> 20230620-REX-1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00EE6D8-EDCE-3C40-73AD-B4F9ED44D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0842" y="3733214"/>
            <a:ext cx="4863090" cy="1577386"/>
          </a:xfrm>
        </p:spPr>
        <p:txBody>
          <a:bodyPr/>
          <a:lstStyle/>
          <a:p>
            <a:r>
              <a:rPr lang="fr-FR"/>
              <a:t>RETROSPECTIVE </a:t>
            </a:r>
            <a:br>
              <a:rPr lang="fr-FR"/>
            </a:br>
            <a:r>
              <a:rPr lang="fr-FR"/>
              <a:t>&amp; PERSPECTIVES</a:t>
            </a:r>
            <a:br>
              <a:rPr lang="fr-FR"/>
            </a:b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08612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26879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495870D-8070-DFB5-67DE-FA69797209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03338" y="1519200"/>
            <a:ext cx="10170000" cy="984885"/>
          </a:xfrm>
        </p:spPr>
        <p:txBody>
          <a:bodyPr/>
          <a:lstStyle/>
          <a:p>
            <a:pPr lvl="2">
              <a:buFont typeface="Wingdings" panose="05000000000000000000" pitchFamily="2" charset="2"/>
              <a:buChar char="Ø"/>
            </a:pPr>
            <a:r>
              <a:rPr lang="fr-FR" sz="1800" b="1"/>
              <a:t>L'Industrie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fr-FR" sz="1800" b="1"/>
              <a:t>Le Commerce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fr-FR" sz="1800" b="1"/>
              <a:t>La Technologi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499DF98A-D7BF-4842-1EDC-7BF28F3B1D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3338" y="624422"/>
            <a:ext cx="10168662" cy="366254"/>
          </a:xfrm>
        </p:spPr>
        <p:txBody>
          <a:bodyPr/>
          <a:lstStyle/>
          <a:p>
            <a:r>
              <a:rPr lang="fr-FR" sz="2800"/>
              <a:t>50 ans déjà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916A95FD-B2A4-48ED-FE3B-390A7F261A4C}"/>
              </a:ext>
            </a:extLst>
          </p:cNvPr>
          <p:cNvSpPr txBox="1">
            <a:spLocks/>
          </p:cNvSpPr>
          <p:nvPr/>
        </p:nvSpPr>
        <p:spPr>
          <a:xfrm>
            <a:off x="1301275" y="3308811"/>
            <a:ext cx="10170000" cy="10618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1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Tx/>
              <a:buBlip>
                <a:blip r:embed="rId2"/>
              </a:buBlip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42900" indent="-1651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−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482600" indent="-1397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fr-FR" sz="1800" b="1"/>
              <a:t>Des flux, les maths, une équipe d'optimisation pour la planète</a:t>
            </a:r>
          </a:p>
          <a:p>
            <a:pPr lvl="2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fr-FR" sz="1800" b="1"/>
              <a:t>De la carte perforée à l'ordinateur quantique, de l'intelligence humaine à l'intelligence artificielle, de l'analyste au data </a:t>
            </a:r>
            <a:r>
              <a:rPr lang="fr-FR" sz="1800" b="1" err="1"/>
              <a:t>scientist</a:t>
            </a:r>
            <a:endParaRPr lang="fr-FR" sz="1800" b="1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70C0305B-4CBC-D315-28A0-09DF4C74F251}"/>
              </a:ext>
            </a:extLst>
          </p:cNvPr>
          <p:cNvSpPr txBox="1">
            <a:spLocks/>
          </p:cNvSpPr>
          <p:nvPr/>
        </p:nvSpPr>
        <p:spPr>
          <a:xfrm>
            <a:off x="1301275" y="4926864"/>
            <a:ext cx="1017000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1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Tx/>
              <a:buBlip>
                <a:blip r:embed="rId2"/>
              </a:buBlip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42900" indent="-1651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−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482600" indent="-1397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Font typeface="Wingdings" panose="05000000000000000000" pitchFamily="2" charset="2"/>
              <a:buChar char="Ø"/>
            </a:pPr>
            <a:r>
              <a:rPr lang="fr-FR" sz="1800" b="1"/>
              <a:t>Gastou, Riboud et l'esprit du protestantisme (l'esprit du capitalisme) Max Weber. L'Industrie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fr-FR" sz="1800" b="1"/>
              <a:t>Pierre Carrère et l'ASLOG. Network Design. Le Commerce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fr-FR" sz="1800" b="1"/>
              <a:t>La Team</a:t>
            </a:r>
          </a:p>
        </p:txBody>
      </p:sp>
      <p:pic>
        <p:nvPicPr>
          <p:cNvPr id="7172" name="Picture 4" descr="rubicube — Wiktionnaire">
            <a:extLst>
              <a:ext uri="{FF2B5EF4-FFF2-40B4-BE49-F238E27FC236}">
                <a16:creationId xmlns:a16="http://schemas.microsoft.com/office/drawing/2014/main" id="{01DDB8F5-C4E9-99FF-CD5D-2236945D78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26923" y="480039"/>
            <a:ext cx="2135738" cy="2223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A5335BF-67CA-1B2E-B72C-F81D8D48BC0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9722" y="540904"/>
            <a:ext cx="2211510" cy="216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2961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5" grpId="0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 descr="Sticker et autocollant Kronenbourg">
            <a:extLst>
              <a:ext uri="{FF2B5EF4-FFF2-40B4-BE49-F238E27FC236}">
                <a16:creationId xmlns:a16="http://schemas.microsoft.com/office/drawing/2014/main" id="{309F4DBD-0304-C95C-2D58-6F6B1A1FF2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6794" y="2729297"/>
            <a:ext cx="1715381" cy="1715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A1ED494F-2945-069A-560A-90C5DEB84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9279896">
            <a:off x="-266799" y="910929"/>
            <a:ext cx="3407664" cy="732508"/>
          </a:xfrm>
        </p:spPr>
        <p:txBody>
          <a:bodyPr/>
          <a:lstStyle/>
          <a:p>
            <a:pPr algn="ctr"/>
            <a:r>
              <a:rPr lang="fr-FR" sz="2800"/>
              <a:t>1971- maintenant</a:t>
            </a:r>
            <a:br>
              <a:rPr lang="fr-FR" sz="2800"/>
            </a:br>
            <a:r>
              <a:rPr lang="fr-FR" sz="2800"/>
              <a:t>l'industrie</a:t>
            </a:r>
          </a:p>
        </p:txBody>
      </p:sp>
      <p:pic>
        <p:nvPicPr>
          <p:cNvPr id="4" name="Picture 15" descr="Suppression d'un avion postal &quot;Pas pour 2020&quot;, dit La Poste | Corse Matin">
            <a:extLst>
              <a:ext uri="{FF2B5EF4-FFF2-40B4-BE49-F238E27FC236}">
                <a16:creationId xmlns:a16="http://schemas.microsoft.com/office/drawing/2014/main" id="{98125850-7429-8A35-8B86-C54DE1D502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718022">
            <a:off x="950828" y="1202492"/>
            <a:ext cx="3154612" cy="2053902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Le centre de tri de la Poste de Laon évacué à cause d'un colis vibrant">
            <a:extLst>
              <a:ext uri="{FF2B5EF4-FFF2-40B4-BE49-F238E27FC236}">
                <a16:creationId xmlns:a16="http://schemas.microsoft.com/office/drawing/2014/main" id="{D2FDCA5F-738A-D5BE-E377-5EAC1000A0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45" t="15478"/>
          <a:stretch/>
        </p:blipFill>
        <p:spPr bwMode="auto">
          <a:xfrm rot="503855">
            <a:off x="7139398" y="1195993"/>
            <a:ext cx="4354286" cy="2053903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SNT">
            <a:extLst>
              <a:ext uri="{FF2B5EF4-FFF2-40B4-BE49-F238E27FC236}">
                <a16:creationId xmlns:a16="http://schemas.microsoft.com/office/drawing/2014/main" id="{36F6DB40-4B3A-CD9B-E14C-36DA83909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7611" y="-73354"/>
            <a:ext cx="4001357" cy="3106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e 12">
            <a:extLst>
              <a:ext uri="{FF2B5EF4-FFF2-40B4-BE49-F238E27FC236}">
                <a16:creationId xmlns:a16="http://schemas.microsoft.com/office/drawing/2014/main" id="{DC320704-64F4-4374-10C4-6A3BB6BD5D89}"/>
              </a:ext>
            </a:extLst>
          </p:cNvPr>
          <p:cNvGrpSpPr/>
          <p:nvPr/>
        </p:nvGrpSpPr>
        <p:grpSpPr>
          <a:xfrm>
            <a:off x="1571897" y="3550994"/>
            <a:ext cx="9568387" cy="2557209"/>
            <a:chOff x="1571897" y="3550994"/>
            <a:chExt cx="9568387" cy="2557209"/>
          </a:xfrm>
        </p:grpSpPr>
        <p:pic>
          <p:nvPicPr>
            <p:cNvPr id="5126" name="Picture 6" descr="Kronenbourg vit au rythme de l'internationalisation de Carlsberg">
              <a:extLst>
                <a:ext uri="{FF2B5EF4-FFF2-40B4-BE49-F238E27FC236}">
                  <a16:creationId xmlns:a16="http://schemas.microsoft.com/office/drawing/2014/main" id="{8A3628A2-B950-3EEE-433D-4ED90212A1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5012" y="3560840"/>
              <a:ext cx="4415272" cy="2547363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Image 18" descr="Cuves d'LA BIÈRE, brasserie Kronenbourg, STRASBOURG, Bas-rhin (67), Alsace,  France Photo Stock - Alamy">
              <a:extLst>
                <a:ext uri="{FF2B5EF4-FFF2-40B4-BE49-F238E27FC236}">
                  <a16:creationId xmlns:a16="http://schemas.microsoft.com/office/drawing/2014/main" id="{6EE54A69-EAC2-F507-D57D-42BBAA7DC5C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6373" t="1" r="5105" b="10595"/>
            <a:stretch/>
          </p:blipFill>
          <p:spPr bwMode="auto">
            <a:xfrm>
              <a:off x="4259478" y="3550994"/>
              <a:ext cx="2275370" cy="2547363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24" name="Picture 4" descr="Kronenbourg devient le 1er brasseur à se voir décerner le label Alsace  Excellence ! | Imaginalsace">
              <a:extLst>
                <a:ext uri="{FF2B5EF4-FFF2-40B4-BE49-F238E27FC236}">
                  <a16:creationId xmlns:a16="http://schemas.microsoft.com/office/drawing/2014/main" id="{3D9285F9-E80B-5F23-C008-692BFBECC1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3428" r="61008"/>
            <a:stretch/>
          </p:blipFill>
          <p:spPr bwMode="auto">
            <a:xfrm>
              <a:off x="1571897" y="3623026"/>
              <a:ext cx="2774273" cy="2485177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9169E857-CD94-1CC1-CBEA-76FF30A189CD}"/>
              </a:ext>
            </a:extLst>
          </p:cNvPr>
          <p:cNvSpPr txBox="1"/>
          <p:nvPr/>
        </p:nvSpPr>
        <p:spPr>
          <a:xfrm>
            <a:off x="278674" y="6135039"/>
            <a:ext cx="5643466" cy="699404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>
            <a:spAutoFit/>
          </a:bodyPr>
          <a:lstStyle/>
          <a:p>
            <a:r>
              <a:rPr lang="fr-FR" b="1"/>
              <a:t>XPRO: Planification de production multi usine  devenu AZAP Planification </a:t>
            </a:r>
          </a:p>
        </p:txBody>
      </p:sp>
      <p:pic>
        <p:nvPicPr>
          <p:cNvPr id="5130" name="Picture 10">
            <a:extLst>
              <a:ext uri="{FF2B5EF4-FFF2-40B4-BE49-F238E27FC236}">
                <a16:creationId xmlns:a16="http://schemas.microsoft.com/office/drawing/2014/main" id="{74DEE28A-77A2-8497-8F28-BA80E29D8E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5076" y="43296"/>
            <a:ext cx="2049327" cy="153501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78F815BE-F21C-244B-F1E3-CDF332F0440F}"/>
              </a:ext>
            </a:extLst>
          </p:cNvPr>
          <p:cNvSpPr txBox="1"/>
          <p:nvPr/>
        </p:nvSpPr>
        <p:spPr>
          <a:xfrm>
            <a:off x="3200655" y="2994491"/>
            <a:ext cx="6228154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fr-FR" b="1"/>
              <a:t>NETPRO multi </a:t>
            </a:r>
            <a:r>
              <a:rPr lang="fr-FR" b="1" err="1"/>
              <a:t>commodity</a:t>
            </a:r>
            <a:r>
              <a:rPr lang="fr-FR" b="1"/>
              <a:t> </a:t>
            </a:r>
            <a:r>
              <a:rPr lang="fr-FR" b="1" err="1"/>
              <a:t>dynamic</a:t>
            </a:r>
            <a:r>
              <a:rPr lang="fr-FR" b="1"/>
              <a:t> </a:t>
            </a:r>
            <a:r>
              <a:rPr lang="fr-FR" b="1" err="1"/>
              <a:t>optimization</a:t>
            </a:r>
            <a:endParaRPr lang="fr-FR" b="1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474E6DA6-3324-0AE5-DACD-4BAFAA469311}"/>
              </a:ext>
            </a:extLst>
          </p:cNvPr>
          <p:cNvSpPr txBox="1"/>
          <p:nvPr/>
        </p:nvSpPr>
        <p:spPr>
          <a:xfrm>
            <a:off x="7012762" y="6200417"/>
            <a:ext cx="5643466" cy="422405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fr-FR" b="1"/>
              <a:t>En train de migrer vers Green </a:t>
            </a:r>
            <a:r>
              <a:rPr lang="fr-FR" b="1" err="1"/>
              <a:t>Wave</a:t>
            </a:r>
            <a:r>
              <a:rPr lang="fr-FR" b="1"/>
              <a:t> Planning</a:t>
            </a:r>
          </a:p>
        </p:txBody>
      </p:sp>
    </p:spTree>
    <p:extLst>
      <p:ext uri="{BB962C8B-B14F-4D97-AF65-F5344CB8AC3E}">
        <p14:creationId xmlns:p14="http://schemas.microsoft.com/office/powerpoint/2010/main" val="26404910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5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29ACEC4-69A9-65FC-E652-31253FE8FF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202" y="1013616"/>
            <a:ext cx="2497006" cy="523220"/>
          </a:xfrm>
        </p:spPr>
        <p:txBody>
          <a:bodyPr/>
          <a:lstStyle/>
          <a:p>
            <a:pPr algn="ctr"/>
            <a:r>
              <a:rPr lang="fr-FR"/>
              <a:t>de 70 000 points de vente</a:t>
            </a:r>
          </a:p>
        </p:txBody>
      </p:sp>
      <p:pic>
        <p:nvPicPr>
          <p:cNvPr id="9310" name="Image 6" descr="Une image contenant texte, affiche, clipart, graphisme&#10;&#10;Description générée automatiquement">
            <a:extLst>
              <a:ext uri="{FF2B5EF4-FFF2-40B4-BE49-F238E27FC236}">
                <a16:creationId xmlns:a16="http://schemas.microsoft.com/office/drawing/2014/main" id="{F2F562DF-9707-12BD-EBFF-B783A46B43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872" y="1653992"/>
            <a:ext cx="2714953" cy="1870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07" name="Image 13" descr="Livraison à Domicile En Toute Sécurité. | Vecteur Premium">
            <a:extLst>
              <a:ext uri="{FF2B5EF4-FFF2-40B4-BE49-F238E27FC236}">
                <a16:creationId xmlns:a16="http://schemas.microsoft.com/office/drawing/2014/main" id="{2773FCF5-822E-52DD-E722-039C1FCAE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38946" y="1603563"/>
            <a:ext cx="2619375" cy="187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Image 16" descr="Créer une entreprise de transport de marchandises">
            <a:extLst>
              <a:ext uri="{FF2B5EF4-FFF2-40B4-BE49-F238E27FC236}">
                <a16:creationId xmlns:a16="http://schemas.microsoft.com/office/drawing/2014/main" id="{43527C4C-5591-249B-DF39-792984214C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3349" y="1555750"/>
            <a:ext cx="3717075" cy="1873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9" name="Image 20" descr="Taking A Look At VisiCalc - The First Ever Spreadsheet Program! - YouTube">
            <a:extLst>
              <a:ext uri="{FF2B5EF4-FFF2-40B4-BE49-F238E27FC236}">
                <a16:creationId xmlns:a16="http://schemas.microsoft.com/office/drawing/2014/main" id="{76B5CB13-3F0D-A8F4-EA6A-7E15547F3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877425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76" name="Rectangle 96">
            <a:extLst>
              <a:ext uri="{FF2B5EF4-FFF2-40B4-BE49-F238E27FC236}">
                <a16:creationId xmlns:a16="http://schemas.microsoft.com/office/drawing/2014/main" id="{4F3868AA-1CA6-A321-600C-C2F134CB12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01955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277" name="Rectangle 97">
            <a:extLst>
              <a:ext uri="{FF2B5EF4-FFF2-40B4-BE49-F238E27FC236}">
                <a16:creationId xmlns:a16="http://schemas.microsoft.com/office/drawing/2014/main" id="{C293EFC4-9C07-7742-25CF-81DED86FE2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90575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sp>
        <p:nvSpPr>
          <p:cNvPr id="9278" name="Rectangle 98">
            <a:extLst>
              <a:ext uri="{FF2B5EF4-FFF2-40B4-BE49-F238E27FC236}">
                <a16:creationId xmlns:a16="http://schemas.microsoft.com/office/drawing/2014/main" id="{AD642533-4F21-52B4-54B9-F9C854890C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36295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 Transport, le stockage, la chaîne d’approvisionnement, la logistique </a:t>
            </a: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279" name="Rectangle 99">
            <a:extLst>
              <a:ext uri="{FF2B5EF4-FFF2-40B4-BE49-F238E27FC236}">
                <a16:creationId xmlns:a16="http://schemas.microsoft.com/office/drawing/2014/main" id="{8E225471-278B-85A8-A85B-4983A7CBF2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8774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280" name="ZoneTexte 9279">
            <a:extLst>
              <a:ext uri="{FF2B5EF4-FFF2-40B4-BE49-F238E27FC236}">
                <a16:creationId xmlns:a16="http://schemas.microsoft.com/office/drawing/2014/main" id="{22C63EF4-7522-32C6-C149-878D28E86F5E}"/>
              </a:ext>
            </a:extLst>
          </p:cNvPr>
          <p:cNvSpPr txBox="1"/>
          <p:nvPr/>
        </p:nvSpPr>
        <p:spPr>
          <a:xfrm>
            <a:off x="8731991" y="4528912"/>
            <a:ext cx="3250384" cy="76095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fr-FR" sz="2000" b="1"/>
              <a:t>DIALOG'</a:t>
            </a:r>
          </a:p>
          <a:p>
            <a:r>
              <a:rPr lang="fr-FR" sz="2000" b="1"/>
              <a:t>VISUTOUR puis VRS</a:t>
            </a:r>
          </a:p>
        </p:txBody>
      </p:sp>
      <p:sp>
        <p:nvSpPr>
          <p:cNvPr id="9281" name="Titre 1">
            <a:extLst>
              <a:ext uri="{FF2B5EF4-FFF2-40B4-BE49-F238E27FC236}">
                <a16:creationId xmlns:a16="http://schemas.microsoft.com/office/drawing/2014/main" id="{7104B703-A144-595D-CCC7-8D518B630E2A}"/>
              </a:ext>
            </a:extLst>
          </p:cNvPr>
          <p:cNvSpPr txBox="1">
            <a:spLocks/>
          </p:cNvSpPr>
          <p:nvPr/>
        </p:nvSpPr>
        <p:spPr>
          <a:xfrm>
            <a:off x="554202" y="268754"/>
            <a:ext cx="10168662" cy="3662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000" b="1" kern="1200" cap="all" baseline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 sz="2800"/>
              <a:t>Et dans le commerce</a:t>
            </a:r>
          </a:p>
        </p:txBody>
      </p:sp>
      <p:sp>
        <p:nvSpPr>
          <p:cNvPr id="9283" name="Titre 1">
            <a:extLst>
              <a:ext uri="{FF2B5EF4-FFF2-40B4-BE49-F238E27FC236}">
                <a16:creationId xmlns:a16="http://schemas.microsoft.com/office/drawing/2014/main" id="{21ACBFD9-8085-E6DC-2E8E-91A4BFDA5CF4}"/>
              </a:ext>
            </a:extLst>
          </p:cNvPr>
          <p:cNvSpPr txBox="1">
            <a:spLocks/>
          </p:cNvSpPr>
          <p:nvPr/>
        </p:nvSpPr>
        <p:spPr>
          <a:xfrm>
            <a:off x="456872" y="3571454"/>
            <a:ext cx="11525503" cy="52322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000" b="1" kern="1200" cap="all" baseline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le network design, l'entrepôt, les tournées de livraison, VRS, les ordinateurs, la cartographie</a:t>
            </a:r>
          </a:p>
        </p:txBody>
      </p:sp>
      <p:sp>
        <p:nvSpPr>
          <p:cNvPr id="9284" name="Titre 1">
            <a:extLst>
              <a:ext uri="{FF2B5EF4-FFF2-40B4-BE49-F238E27FC236}">
                <a16:creationId xmlns:a16="http://schemas.microsoft.com/office/drawing/2014/main" id="{9643C284-CE71-A06D-CFE9-7323050FDBFD}"/>
              </a:ext>
            </a:extLst>
          </p:cNvPr>
          <p:cNvSpPr txBox="1">
            <a:spLocks/>
          </p:cNvSpPr>
          <p:nvPr/>
        </p:nvSpPr>
        <p:spPr>
          <a:xfrm>
            <a:off x="3288636" y="1005220"/>
            <a:ext cx="2150310" cy="52322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000" b="1" kern="1200" cap="all" baseline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fr-FR"/>
              <a:t>à 100 points de livraison…</a:t>
            </a:r>
          </a:p>
        </p:txBody>
      </p:sp>
      <p:sp>
        <p:nvSpPr>
          <p:cNvPr id="9285" name="Titre 1">
            <a:extLst>
              <a:ext uri="{FF2B5EF4-FFF2-40B4-BE49-F238E27FC236}">
                <a16:creationId xmlns:a16="http://schemas.microsoft.com/office/drawing/2014/main" id="{D8C6DC15-7110-AF98-442A-33612EBE48F8}"/>
              </a:ext>
            </a:extLst>
          </p:cNvPr>
          <p:cNvSpPr txBox="1">
            <a:spLocks/>
          </p:cNvSpPr>
          <p:nvPr/>
        </p:nvSpPr>
        <p:spPr>
          <a:xfrm>
            <a:off x="6146800" y="996180"/>
            <a:ext cx="2546344" cy="52322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000" b="1" kern="1200" cap="all" baseline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/>
              <a:t>puis à des millions</a:t>
            </a:r>
          </a:p>
        </p:txBody>
      </p:sp>
      <p:pic>
        <p:nvPicPr>
          <p:cNvPr id="9309" name="Image 7" descr="630+ Rayon Supermarché Illustrations, graphiques vectoriels libre de droits  et Clip Art - iStock">
            <a:extLst>
              <a:ext uri="{FF2B5EF4-FFF2-40B4-BE49-F238E27FC236}">
                <a16:creationId xmlns:a16="http://schemas.microsoft.com/office/drawing/2014/main" id="{5517158C-5D80-B81C-146E-8F640285CF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1825" y="1720725"/>
            <a:ext cx="2552700" cy="179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86" name="Image 9285" descr="Une image contenant texte, capture d’écran, fleur&#10;&#10;Description générée automatiquement">
            <a:extLst>
              <a:ext uri="{FF2B5EF4-FFF2-40B4-BE49-F238E27FC236}">
                <a16:creationId xmlns:a16="http://schemas.microsoft.com/office/drawing/2014/main" id="{4AB018B7-52D5-9656-2639-E19AE1BC699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03" t="10668" r="-18" b="31857"/>
          <a:stretch/>
        </p:blipFill>
        <p:spPr>
          <a:xfrm>
            <a:off x="4808250" y="4071278"/>
            <a:ext cx="3809650" cy="2461944"/>
          </a:xfrm>
          <a:prstGeom prst="rect">
            <a:avLst/>
          </a:prstGeom>
        </p:spPr>
      </p:pic>
      <p:pic>
        <p:nvPicPr>
          <p:cNvPr id="9287" name="Image 9286" descr="Une image contenant texte, capture d’écran, fleur&#10;&#10;Description générée automatiquement">
            <a:extLst>
              <a:ext uri="{FF2B5EF4-FFF2-40B4-BE49-F238E27FC236}">
                <a16:creationId xmlns:a16="http://schemas.microsoft.com/office/drawing/2014/main" id="{880124DE-7AC3-FEC5-73DB-BC2CE9BD924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303" t="68374" r="8073" b="3968"/>
          <a:stretch/>
        </p:blipFill>
        <p:spPr>
          <a:xfrm>
            <a:off x="1020839" y="4343399"/>
            <a:ext cx="3673321" cy="1364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9972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3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3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2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280" grpId="0"/>
      <p:bldP spid="9283" grpId="0"/>
      <p:bldP spid="9284" grpId="0"/>
      <p:bldP spid="928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F890551-2CD8-1CB2-7BF4-6C6794250F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4949" y="137953"/>
            <a:ext cx="11164902" cy="523220"/>
          </a:xfrm>
        </p:spPr>
        <p:txBody>
          <a:bodyPr/>
          <a:lstStyle/>
          <a:p>
            <a:pPr algn="ctr"/>
            <a:r>
              <a:rPr lang="fr-FR" sz="2800"/>
              <a:t>La technologie, de la carte perforée et l'IH</a:t>
            </a:r>
          </a:p>
        </p:txBody>
      </p:sp>
      <p:pic>
        <p:nvPicPr>
          <p:cNvPr id="3" name="Image 2" descr="Apple II — Wikipédia">
            <a:extLst>
              <a:ext uri="{FF2B5EF4-FFF2-40B4-BE49-F238E27FC236}">
                <a16:creationId xmlns:a16="http://schemas.microsoft.com/office/drawing/2014/main" id="{C26C0F83-45FF-64CB-6A18-9BF5D2C33A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5336" y="2609851"/>
            <a:ext cx="2095500" cy="207645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Image 4" descr="quantique">
            <a:extLst>
              <a:ext uri="{FF2B5EF4-FFF2-40B4-BE49-F238E27FC236}">
                <a16:creationId xmlns:a16="http://schemas.microsoft.com/office/drawing/2014/main" id="{B9C7AFFB-1A89-EF8A-21EE-4C04067F221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4107" y="5097622"/>
            <a:ext cx="2884805" cy="16224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52" name="Picture 12" descr="Sony Vaio VPC-YB2M1E/P au meilleur prix sur idealo.fr">
            <a:extLst>
              <a:ext uri="{FF2B5EF4-FFF2-40B4-BE49-F238E27FC236}">
                <a16:creationId xmlns:a16="http://schemas.microsoft.com/office/drawing/2014/main" id="{3F3C5484-DC45-5BDF-C116-09BF11CFA8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3184" y="5004317"/>
            <a:ext cx="2343150" cy="195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 descr="Taking A Look At VisiCalc - The First Ever Spreadsheet Program! - YouTube">
            <a:extLst>
              <a:ext uri="{FF2B5EF4-FFF2-40B4-BE49-F238E27FC236}">
                <a16:creationId xmlns:a16="http://schemas.microsoft.com/office/drawing/2014/main" id="{FB1A67FC-F6BE-E552-2336-D030540415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9314" y="4754522"/>
            <a:ext cx="2857500" cy="1600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46" name="Picture 6" descr="Computer programming in the punched card era - Wikipedia">
            <a:extLst>
              <a:ext uri="{FF2B5EF4-FFF2-40B4-BE49-F238E27FC236}">
                <a16:creationId xmlns:a16="http://schemas.microsoft.com/office/drawing/2014/main" id="{4651799B-CC87-7E55-25EB-DDEA5F433F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79" t="17483" r="2005" b="15850"/>
          <a:stretch/>
        </p:blipFill>
        <p:spPr bwMode="auto">
          <a:xfrm>
            <a:off x="415336" y="827596"/>
            <a:ext cx="2531668" cy="13367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7" name="Titre 1">
            <a:extLst>
              <a:ext uri="{FF2B5EF4-FFF2-40B4-BE49-F238E27FC236}">
                <a16:creationId xmlns:a16="http://schemas.microsoft.com/office/drawing/2014/main" id="{27D50F5C-4300-7D1F-7D23-85677DD05059}"/>
              </a:ext>
            </a:extLst>
          </p:cNvPr>
          <p:cNvSpPr txBox="1">
            <a:spLocks/>
          </p:cNvSpPr>
          <p:nvPr/>
        </p:nvSpPr>
        <p:spPr>
          <a:xfrm>
            <a:off x="5876334" y="4623717"/>
            <a:ext cx="6896500" cy="2616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000" b="1" kern="1200" cap="all" baseline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fr-FR"/>
              <a:t>à l'ordinateur quantique et l'IA</a:t>
            </a:r>
          </a:p>
        </p:txBody>
      </p:sp>
      <p:pic>
        <p:nvPicPr>
          <p:cNvPr id="8" name="Picture 2" descr="LCM+L - DEC PDP-10: KI-10 (DECsystem-10)">
            <a:extLst>
              <a:ext uri="{FF2B5EF4-FFF2-40B4-BE49-F238E27FC236}">
                <a16:creationId xmlns:a16="http://schemas.microsoft.com/office/drawing/2014/main" id="{67DE1267-B2DE-80FA-108C-FB3A961FA5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6492" y="873468"/>
            <a:ext cx="7012420" cy="3506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07063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AF0A779-E099-4213-9903-9B8098B645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437" y="535127"/>
            <a:ext cx="10168662" cy="366254"/>
          </a:xfrm>
          <a:solidFill>
            <a:schemeClr val="bg1"/>
          </a:solidFill>
        </p:spPr>
        <p:txBody>
          <a:bodyPr/>
          <a:lstStyle/>
          <a:p>
            <a:r>
              <a:rPr lang="fr-FR" sz="2800"/>
              <a:t>les hommes et les femmes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B88EEB-F8C3-41EC-952F-033715580C7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r>
              <a:rPr lang="fr-FR"/>
              <a:t>  </a:t>
            </a:r>
          </a:p>
          <a:p>
            <a:pPr>
              <a:defRPr/>
            </a:pPr>
            <a:endParaRPr lang="fr-FR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E266FC39-FC5C-A94E-DD07-D59468910F3C}"/>
              </a:ext>
            </a:extLst>
          </p:cNvPr>
          <p:cNvSpPr txBox="1">
            <a:spLocks/>
          </p:cNvSpPr>
          <p:nvPr/>
        </p:nvSpPr>
        <p:spPr>
          <a:xfrm>
            <a:off x="791437" y="1116409"/>
            <a:ext cx="10609126" cy="235449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000" b="1" kern="1200" cap="all" baseline="0">
                <a:solidFill>
                  <a:schemeClr val="accent2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fr-FR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fr-FR"/>
              <a:t>En 2000, Diagma se concentre sur le conseil</a:t>
            </a:r>
          </a:p>
          <a:p>
            <a:endParaRPr lang="fr-FR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fr-FR"/>
              <a:t>AZAP NOUS QUITTE ET DEVIENT EDITEUR d’AP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fr-FR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fr-FR"/>
              <a:t>LES SUPPLY chain MANAGERS se développent dans les entrepris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fr-FR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fr-FR"/>
              <a:t>Diagma s'étoffe, s'internationalise et se concentre sur l'organisation et l'optimisation de la supply chain de SES clients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0CD977B-B035-7526-C070-C6D99C9A36E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7813" y="3982877"/>
            <a:ext cx="2905315" cy="2078198"/>
          </a:xfrm>
          <a:prstGeom prst="rect">
            <a:avLst/>
          </a:prstGeom>
        </p:spPr>
      </p:pic>
      <p:pic>
        <p:nvPicPr>
          <p:cNvPr id="6" name="Image 5" descr="Une image contenant habits, personne, plein air, ciel&#10;&#10;Description générée automatiquement">
            <a:extLst>
              <a:ext uri="{FF2B5EF4-FFF2-40B4-BE49-F238E27FC236}">
                <a16:creationId xmlns:a16="http://schemas.microsoft.com/office/drawing/2014/main" id="{FFAAD849-5572-6D9A-8091-24F293D66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4119" y="314109"/>
            <a:ext cx="2636766" cy="1977574"/>
          </a:xfrm>
          <a:prstGeom prst="rect">
            <a:avLst/>
          </a:prstGeom>
        </p:spPr>
      </p:pic>
      <p:pic>
        <p:nvPicPr>
          <p:cNvPr id="13" name="Image 12" descr="Une image contenant habits, personne, homme, femme&#10;&#10;Description générée automatiquement">
            <a:extLst>
              <a:ext uri="{FF2B5EF4-FFF2-40B4-BE49-F238E27FC236}">
                <a16:creationId xmlns:a16="http://schemas.microsoft.com/office/drawing/2014/main" id="{B3F5B339-70A4-BC7A-02D8-168309DC11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1865" y="3917030"/>
            <a:ext cx="2858727" cy="2144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2441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E333CE-C2FA-193C-392E-E10E3E4F5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663" y="247700"/>
            <a:ext cx="10608468" cy="889474"/>
          </a:xfrm>
        </p:spPr>
        <p:txBody>
          <a:bodyPr/>
          <a:lstStyle/>
          <a:p>
            <a:pPr algn="ctr"/>
            <a:r>
              <a:rPr lang="fr-FR" sz="2800"/>
              <a:t>les valeurs évoluent mais restent les mêmes</a:t>
            </a:r>
            <a:br>
              <a:rPr lang="fr-FR"/>
            </a:br>
            <a:r>
              <a:rPr lang="fr-FR"/>
              <a:t>	  </a:t>
            </a:r>
            <a:br>
              <a:rPr lang="fr-FR"/>
            </a:br>
            <a:r>
              <a:rPr lang="fr-FR"/>
              <a:t>on se passionne. </a:t>
            </a:r>
            <a:r>
              <a:rPr lang="fr-FR" err="1"/>
              <a:t>we</a:t>
            </a:r>
            <a:r>
              <a:rPr lang="fr-FR"/>
              <a:t> are a team. </a:t>
            </a:r>
          </a:p>
        </p:txBody>
      </p:sp>
      <p:pic>
        <p:nvPicPr>
          <p:cNvPr id="6148" name="Picture 4" descr="UN HÉRITAGE VIVANT">
            <a:extLst>
              <a:ext uri="{FF2B5EF4-FFF2-40B4-BE49-F238E27FC236}">
                <a16:creationId xmlns:a16="http://schemas.microsoft.com/office/drawing/2014/main" id="{B950D947-CC4D-FBC3-D88F-9128E54AD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836" y="2264074"/>
            <a:ext cx="7175863" cy="4036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Bulle narrative : ronde 6">
            <a:extLst>
              <a:ext uri="{FF2B5EF4-FFF2-40B4-BE49-F238E27FC236}">
                <a16:creationId xmlns:a16="http://schemas.microsoft.com/office/drawing/2014/main" id="{A689EA72-63E6-7A8C-3540-DCE5344CF6A6}"/>
              </a:ext>
            </a:extLst>
          </p:cNvPr>
          <p:cNvSpPr/>
          <p:nvPr/>
        </p:nvSpPr>
        <p:spPr>
          <a:xfrm>
            <a:off x="8146031" y="1777377"/>
            <a:ext cx="3862460" cy="1913248"/>
          </a:xfrm>
          <a:prstGeom prst="wedgeEllipseCallout">
            <a:avLst>
              <a:gd name="adj1" fmla="val -59179"/>
              <a:gd name="adj2" fmla="val 87567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/>
              <a:t>«</a:t>
            </a:r>
            <a:r>
              <a:rPr lang="fr-FR" b="1" i="1"/>
              <a:t> Il n’y a qu’une seule terre. On ne vit qu’une seule fois. »</a:t>
            </a:r>
          </a:p>
          <a:p>
            <a:pPr algn="ctr"/>
            <a:r>
              <a:rPr lang="fr-FR" b="1"/>
              <a:t>Antoine Riboud</a:t>
            </a:r>
          </a:p>
        </p:txBody>
      </p:sp>
      <p:sp>
        <p:nvSpPr>
          <p:cNvPr id="12" name="Bulle narrative : ronde 11">
            <a:extLst>
              <a:ext uri="{FF2B5EF4-FFF2-40B4-BE49-F238E27FC236}">
                <a16:creationId xmlns:a16="http://schemas.microsoft.com/office/drawing/2014/main" id="{2B34C7E0-C03C-AD81-E35F-5FC3C32FCE3B}"/>
              </a:ext>
            </a:extLst>
          </p:cNvPr>
          <p:cNvSpPr/>
          <p:nvPr/>
        </p:nvSpPr>
        <p:spPr>
          <a:xfrm>
            <a:off x="8681987" y="3946358"/>
            <a:ext cx="3373655" cy="1913248"/>
          </a:xfrm>
          <a:prstGeom prst="wedgeEllipseCallout">
            <a:avLst>
              <a:gd name="adj1" fmla="val -59492"/>
              <a:gd name="adj2" fmla="val 2829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b="1"/>
              <a:t>« </a:t>
            </a:r>
            <a:r>
              <a:rPr lang="fr-FR" b="1" i="1"/>
              <a:t>Et nous nous resterons sur la Terre qui est parfois si jolie. </a:t>
            </a:r>
            <a:r>
              <a:rPr lang="fr-FR" b="1"/>
              <a:t>»</a:t>
            </a:r>
          </a:p>
          <a:p>
            <a:pPr algn="ctr"/>
            <a:r>
              <a:rPr lang="fr-FR" b="1"/>
              <a:t>Jacques Prévert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BA8804E-C47F-8D79-D6C3-11230BB8A1BA}"/>
              </a:ext>
            </a:extLst>
          </p:cNvPr>
          <p:cNvSpPr txBox="1"/>
          <p:nvPr/>
        </p:nvSpPr>
        <p:spPr>
          <a:xfrm flipH="1">
            <a:off x="3922710" y="1687472"/>
            <a:ext cx="4759277" cy="1068736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fr-FR" sz="2000" b="1" cap="all">
                <a:solidFill>
                  <a:schemeClr val="accent2"/>
                </a:solidFill>
                <a:ea typeface="+mj-ea"/>
                <a:cs typeface="+mj-cs"/>
              </a:rPr>
              <a:t>aidons nos clients à être "</a:t>
            </a:r>
            <a:r>
              <a:rPr lang="fr-FR" sz="2000" b="1" cap="all" err="1">
                <a:solidFill>
                  <a:schemeClr val="accent2"/>
                </a:solidFill>
                <a:ea typeface="+mj-ea"/>
                <a:cs typeface="+mj-cs"/>
              </a:rPr>
              <a:t>smarter</a:t>
            </a:r>
            <a:r>
              <a:rPr lang="fr-FR" sz="2000" b="1" cap="all">
                <a:solidFill>
                  <a:schemeClr val="accent2"/>
                </a:solidFill>
                <a:ea typeface="+mj-ea"/>
                <a:cs typeface="+mj-cs"/>
              </a:rPr>
              <a:t>" &amp; "More </a:t>
            </a:r>
            <a:r>
              <a:rPr lang="fr-FR" sz="2000" b="1" cap="all" err="1">
                <a:solidFill>
                  <a:schemeClr val="accent2"/>
                </a:solidFill>
                <a:ea typeface="+mj-ea"/>
                <a:cs typeface="+mj-cs"/>
              </a:rPr>
              <a:t>sustainable</a:t>
            </a:r>
            <a:r>
              <a:rPr lang="fr-FR" sz="2000" b="1" cap="all">
                <a:solidFill>
                  <a:schemeClr val="accent2"/>
                </a:solidFill>
                <a:ea typeface="+mj-ea"/>
                <a:cs typeface="+mj-cs"/>
              </a:rPr>
              <a:t>"</a:t>
            </a:r>
          </a:p>
        </p:txBody>
      </p:sp>
      <p:pic>
        <p:nvPicPr>
          <p:cNvPr id="1026" name="Picture 2" descr="Jacques Prévert - Poèmes de Jacques Prévert">
            <a:extLst>
              <a:ext uri="{FF2B5EF4-FFF2-40B4-BE49-F238E27FC236}">
                <a16:creationId xmlns:a16="http://schemas.microsoft.com/office/drawing/2014/main" id="{C2D28278-FD33-7C5A-16E3-FC201FD331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9" r="-1" b="25189"/>
          <a:stretch/>
        </p:blipFill>
        <p:spPr bwMode="auto">
          <a:xfrm>
            <a:off x="8069700" y="4841184"/>
            <a:ext cx="1127656" cy="1649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53454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2" grpId="0" animBg="1"/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2C5C8B4-1843-22B0-7079-FC3BBD54D6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03338" y="1297819"/>
            <a:ext cx="10170000" cy="615553"/>
          </a:xfrm>
        </p:spPr>
        <p:txBody>
          <a:bodyPr/>
          <a:lstStyle/>
          <a:p>
            <a:pPr marL="447675" lvl="2" indent="-447675"/>
            <a:r>
              <a:rPr lang="fr-FR" sz="2000" b="1"/>
              <a:t>Les supply chain évoluent peu à peu, mais pas spontanément vers un optimum pour la Planète.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C85D66-DC1D-D871-0933-4DCCC5D82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2613" y="417360"/>
            <a:ext cx="10168662" cy="732508"/>
          </a:xfrm>
        </p:spPr>
        <p:txBody>
          <a:bodyPr/>
          <a:lstStyle/>
          <a:p>
            <a:r>
              <a:rPr lang="fr-FR" sz="2800"/>
              <a:t>Où va-t-on dans les années qui viennent ?</a:t>
            </a:r>
            <a:br>
              <a:rPr lang="fr-FR" sz="2800"/>
            </a:br>
            <a:endParaRPr lang="fr-FR" sz="2800"/>
          </a:p>
        </p:txBody>
      </p:sp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E58942DC-ABDA-54AA-F477-EADB486FD6D8}"/>
              </a:ext>
            </a:extLst>
          </p:cNvPr>
          <p:cNvSpPr txBox="1">
            <a:spLocks/>
          </p:cNvSpPr>
          <p:nvPr/>
        </p:nvSpPr>
        <p:spPr>
          <a:xfrm>
            <a:off x="1303338" y="2242699"/>
            <a:ext cx="1017000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1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Tx/>
              <a:buBlip>
                <a:blip r:embed="rId2"/>
              </a:buBlip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42900" indent="-1651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−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482600" indent="-1397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7675" lvl="2" indent="-447675"/>
            <a:r>
              <a:rPr lang="fr-FR" sz="2000" b="1"/>
              <a:t>Elles évoluent avec les Besoins et les Ressources de la Planète. Elles évoluent avec les Technologies à leur disposition. </a:t>
            </a:r>
          </a:p>
        </p:txBody>
      </p:sp>
      <p:pic>
        <p:nvPicPr>
          <p:cNvPr id="2050" name="Picture 2" descr="La Green Supply Chain, vous connaissez ? - Univers Retail">
            <a:extLst>
              <a:ext uri="{FF2B5EF4-FFF2-40B4-BE49-F238E27FC236}">
                <a16:creationId xmlns:a16="http://schemas.microsoft.com/office/drawing/2014/main" id="{AE3A0584-6A27-BA38-DD34-DE5D7C67E6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192" y="3141245"/>
            <a:ext cx="6711616" cy="335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97607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0FFA758-DC55-7717-1C64-96F687669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3338" y="624422"/>
            <a:ext cx="10168662" cy="366254"/>
          </a:xfrm>
        </p:spPr>
        <p:txBody>
          <a:bodyPr/>
          <a:lstStyle/>
          <a:p>
            <a:r>
              <a:rPr lang="fr-FR" sz="2800"/>
              <a:t>Les besoins et les ressources de la planèt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DC6FA84-C2F2-1A00-F36F-548F72F1BBA0}"/>
              </a:ext>
            </a:extLst>
          </p:cNvPr>
          <p:cNvSpPr txBox="1"/>
          <p:nvPr/>
        </p:nvSpPr>
        <p:spPr>
          <a:xfrm>
            <a:off x="2903621" y="1555750"/>
            <a:ext cx="6705600" cy="2812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2000" b="1" kern="10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e l'a dit Peter Drucker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2000" b="1" kern="10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"</a:t>
            </a:r>
            <a:r>
              <a:rPr lang="fr-FR" sz="2000" b="1" i="1" kern="10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 tous les changements externes, la démographie – définie comme les changements dans la population, sa taille, sa structure par âge, sa composition, son emploi, son niveau de scolarité et son revenu – est le meilleur prédicteur. Les changements sont sans ambiguïté. Ils ont les conséquences les plus prévisibles</a:t>
            </a:r>
            <a:r>
              <a:rPr lang="fr-FR" sz="2000" b="1" kern="10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"</a:t>
            </a:r>
            <a:endParaRPr lang="fr-FR" sz="2400" b="1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266" name="Picture 2" descr="L'économie de la Connaissance par Peter Drucker – #hypertextual">
            <a:extLst>
              <a:ext uri="{FF2B5EF4-FFF2-40B4-BE49-F238E27FC236}">
                <a16:creationId xmlns:a16="http://schemas.microsoft.com/office/drawing/2014/main" id="{075BAFF8-A6C0-C724-F16C-2E1A833C2F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881" t="-2736" b="1"/>
          <a:stretch/>
        </p:blipFill>
        <p:spPr bwMode="auto">
          <a:xfrm>
            <a:off x="756051" y="1661962"/>
            <a:ext cx="1992749" cy="1727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Hervé Le Bras — Wikipédia">
            <a:extLst>
              <a:ext uri="{FF2B5EF4-FFF2-40B4-BE49-F238E27FC236}">
                <a16:creationId xmlns:a16="http://schemas.microsoft.com/office/drawing/2014/main" id="{25F34FAC-F1A8-3890-928B-DF7932306F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2695" y="4194801"/>
            <a:ext cx="1940330" cy="2074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 descr="Benoit ROTTEMBOURG | Platform Lead | PhD | National Institute for Research  in Computer Science and Control, Le Chesnay | INRIA | Research profile">
            <a:extLst>
              <a:ext uri="{FF2B5EF4-FFF2-40B4-BE49-F238E27FC236}">
                <a16:creationId xmlns:a16="http://schemas.microsoft.com/office/drawing/2014/main" id="{139B302F-87D3-069B-ABF8-91FD39B685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051" y="4232224"/>
            <a:ext cx="1940330" cy="1940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E090E5B3-7210-1914-12BA-12545A55FF0D}"/>
              </a:ext>
            </a:extLst>
          </p:cNvPr>
          <p:cNvSpPr txBox="1"/>
          <p:nvPr/>
        </p:nvSpPr>
        <p:spPr>
          <a:xfrm>
            <a:off x="2865120" y="4634949"/>
            <a:ext cx="6705600" cy="14955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2000" b="1" kern="10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 ce sujet de la prédiction, je vais laisser la parole à Hervé Le Bra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2000" b="1" kern="10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noît Rottembourg nous rassurera ensuite sur l'intelligence humaine.</a:t>
            </a:r>
            <a:endParaRPr lang="fr-FR" sz="2400" b="1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4295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TTONT1" val="8603904"/>
  <p:tag name="BUTTONT2" val="10978917"/>
  <p:tag name="BUTTONT3" val="2254322"/>
  <p:tag name="BUTTONT4" val="53987"/>
  <p:tag name="BUTTONFILL1" val="8603904"/>
  <p:tag name="BUTTONFILL2" val="10978917"/>
  <p:tag name="BUTTONFILL3" val="2254322"/>
  <p:tag name="BUTTONFILL4" val="53987"/>
  <p:tag name="BUTTONBORDER1" val="8603904"/>
  <p:tag name="BUTTONBORDER2" val="10978917"/>
  <p:tag name="BUTTONBORDER3" val="2254322"/>
  <p:tag name="BUTTONBORDER4" val="53987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agma">
  <a:themeElements>
    <a:clrScheme name="Diagma">
      <a:dk1>
        <a:srgbClr val="6586A7"/>
      </a:dk1>
      <a:lt1>
        <a:sysClr val="window" lastClr="FFFFFF"/>
      </a:lt1>
      <a:dk2>
        <a:srgbClr val="C1CFDC"/>
      </a:dk2>
      <a:lt2>
        <a:srgbClr val="A3B6CA"/>
      </a:lt2>
      <a:accent1>
        <a:srgbClr val="004983"/>
      </a:accent1>
      <a:accent2>
        <a:srgbClr val="6586A7"/>
      </a:accent2>
      <a:accent3>
        <a:srgbClr val="F26522"/>
      </a:accent3>
      <a:accent4>
        <a:srgbClr val="E3D200"/>
      </a:accent4>
      <a:accent5>
        <a:srgbClr val="CA92BE"/>
      </a:accent5>
      <a:accent6>
        <a:srgbClr val="89A527"/>
      </a:accent6>
      <a:hlink>
        <a:srgbClr val="004983"/>
      </a:hlink>
      <a:folHlink>
        <a:srgbClr val="004983"/>
      </a:folHlink>
    </a:clrScheme>
    <a:fontScheme name="Diagma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72000" tIns="72000" rIns="72000" bIns="7200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 Diagma.potx" id="{CE7E4CE6-51E7-4F39-846F-CC6455EB9088}" vid="{20DE2699-DEA2-44C4-83A8-B0BAA3553472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  <wetp:taskpane dockstate="right" visibility="0" width="350" row="4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61503389-A8D5-469A-B1EE-99290603BE4E}">
  <we:reference id="wa104380506" version="1.3.0.0" store="fr-FR" storeType="OMEX"/>
  <we:alternateReferences>
    <we:reference id="wa104380506" version="1.3.0.0" store="WA104380506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48F6E4B7-E4DE-4B92-862D-CC86F7E9ED50}">
  <we:reference id="wa104379822" version="1.0.0.0" store="fr-FR" storeType="OMEX"/>
  <we:alternateReferences>
    <we:reference id="WA104379822" version="1.0.0.0" store="WA104379822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d987776-5b58-40a9-9f7a-8fa37a50f0a7">
      <Terms xmlns="http://schemas.microsoft.com/office/infopath/2007/PartnerControls"/>
    </lcf76f155ced4ddcb4097134ff3c332f>
    <TaxCatchAll xmlns="d15f9c23-9ad2-4cd7-af0b-15b5bc63577c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BE1FCA5D798143991509166C6A5D4F" ma:contentTypeVersion="16" ma:contentTypeDescription="Crée un document." ma:contentTypeScope="" ma:versionID="97583ea94821f6cd6af97ada67c7414e">
  <xsd:schema xmlns:xsd="http://www.w3.org/2001/XMLSchema" xmlns:xs="http://www.w3.org/2001/XMLSchema" xmlns:p="http://schemas.microsoft.com/office/2006/metadata/properties" xmlns:ns2="ad987776-5b58-40a9-9f7a-8fa37a50f0a7" xmlns:ns3="d15f9c23-9ad2-4cd7-af0b-15b5bc63577c" targetNamespace="http://schemas.microsoft.com/office/2006/metadata/properties" ma:root="true" ma:fieldsID="df1d9e0cbebdf7be7f89ec3ac3302d22" ns2:_="" ns3:_="">
    <xsd:import namespace="ad987776-5b58-40a9-9f7a-8fa37a50f0a7"/>
    <xsd:import namespace="d15f9c23-9ad2-4cd7-af0b-15b5bc63577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987776-5b58-40a9-9f7a-8fa37a50f0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075fd07d-fc4b-492d-84c8-d7e4acc0f04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5f9c23-9ad2-4cd7-af0b-15b5bc63577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6f96aac-703b-44c6-8721-9c2df2100387}" ma:internalName="TaxCatchAll" ma:showField="CatchAllData" ma:web="d15f9c23-9ad2-4cd7-af0b-15b5bc6357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B9F50D-E611-4743-8AAA-339DE1CFB38D}">
  <ds:schemaRefs>
    <ds:schemaRef ds:uri="ad987776-5b58-40a9-9f7a-8fa37a50f0a7"/>
    <ds:schemaRef ds:uri="d15f9c23-9ad2-4cd7-af0b-15b5bc63577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AD6571E-685A-4BF4-BBAB-E553A27AF63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BE0E696-0B09-419D-A816-C0550BE6C5BD}">
  <ds:schemaRefs>
    <ds:schemaRef ds:uri="ad987776-5b58-40a9-9f7a-8fa37a50f0a7"/>
    <ds:schemaRef ds:uri="d15f9c23-9ad2-4cd7-af0b-15b5bc63577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1</Words>
  <Application>Microsoft Office PowerPoint</Application>
  <PresentationFormat>Grand écran</PresentationFormat>
  <Paragraphs>53</Paragraphs>
  <Slides>10</Slides>
  <Notes>1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16" baseType="lpstr">
      <vt:lpstr>Arial</vt:lpstr>
      <vt:lpstr>Arial Black</vt:lpstr>
      <vt:lpstr>Calibri</vt:lpstr>
      <vt:lpstr>Segoe UI</vt:lpstr>
      <vt:lpstr>Wingdings</vt:lpstr>
      <vt:lpstr>Diagma</vt:lpstr>
      <vt:lpstr>RETROSPECTIVE  &amp; PERSPECTIVES </vt:lpstr>
      <vt:lpstr>50 ans déjà</vt:lpstr>
      <vt:lpstr>1971- maintenant l'industrie</vt:lpstr>
      <vt:lpstr>de 70 000 points de vente</vt:lpstr>
      <vt:lpstr>La technologie, de la carte perforée et l'IH</vt:lpstr>
      <vt:lpstr>les hommes et les femmes</vt:lpstr>
      <vt:lpstr>les valeurs évoluent mais restent les mêmes     on se passionne. we are a team. </vt:lpstr>
      <vt:lpstr>Où va-t-on dans les années qui viennent ? </vt:lpstr>
      <vt:lpstr>Les besoins et les ressources de la planète</vt:lpstr>
      <vt:lpstr>Présentation PowerPoint</vt:lpstr>
    </vt:vector>
  </TitlesOfParts>
  <Manager>Benjamin Cazanova</Manager>
  <Company>Microsoft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gma Proposal</dc:title>
  <dc:subject/>
  <dc:creator>Gil YANIV</dc:creator>
  <cp:keywords>PowerPoint Design</cp:keywords>
  <cp:lastModifiedBy>Cathy Polge</cp:lastModifiedBy>
  <cp:revision>1</cp:revision>
  <dcterms:created xsi:type="dcterms:W3CDTF">2019-01-23T13:30:57Z</dcterms:created>
  <dcterms:modified xsi:type="dcterms:W3CDTF">2023-06-21T13:58:11Z</dcterms:modified>
  <cp:category>www.novaty.com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BE1FCA5D798143991509166C6A5D4F</vt:lpwstr>
  </property>
  <property fmtid="{D5CDD505-2E9C-101B-9397-08002B2CF9AE}" pid="3" name="MediaServiceImageTags">
    <vt:lpwstr/>
  </property>
</Properties>
</file>